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8" r:id="rId2"/>
    <p:sldId id="262" r:id="rId3"/>
    <p:sldId id="263" r:id="rId4"/>
    <p:sldId id="264" r:id="rId5"/>
    <p:sldId id="265" r:id="rId6"/>
    <p:sldId id="266" r:id="rId7"/>
    <p:sldId id="267" r:id="rId8"/>
    <p:sldId id="268" r:id="rId9"/>
    <p:sldId id="269" r:id="rId10"/>
    <p:sldId id="270" r:id="rId11"/>
    <p:sldId id="271" r:id="rId12"/>
    <p:sldId id="272" r:id="rId13"/>
    <p:sldId id="328" r:id="rId14"/>
    <p:sldId id="329" r:id="rId15"/>
    <p:sldId id="330" r:id="rId16"/>
    <p:sldId id="331" r:id="rId17"/>
    <p:sldId id="332" r:id="rId18"/>
    <p:sldId id="333" r:id="rId19"/>
    <p:sldId id="334" r:id="rId20"/>
    <p:sldId id="335" r:id="rId21"/>
    <p:sldId id="336" r:id="rId22"/>
    <p:sldId id="337" r:id="rId23"/>
    <p:sldId id="260" r:id="rId24"/>
  </p:sldIdLst>
  <p:sldSz cx="9144000" cy="6858000" type="screen4x3"/>
  <p:notesSz cx="6858000" cy="9144000"/>
  <p:embeddedFontLst>
    <p:embeddedFont>
      <p:font typeface="CookieRun Black" panose="020B0600000101010101" pitchFamily="34" charset="-127"/>
      <p:bold r:id="rId25"/>
    </p:embeddedFont>
    <p:embeddedFont>
      <p:font typeface="CookieRun Bold" panose="020B0600000101010101" pitchFamily="34" charset="-127"/>
      <p:bold r:id="rId26"/>
    </p:embeddedFont>
  </p:embeddedFontLst>
  <p:custDataLst>
    <p:tags r:id="rId27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1E63"/>
    <a:srgbClr val="F8BBD0"/>
    <a:srgbClr val="FCB410"/>
    <a:srgbClr val="40BC86"/>
    <a:srgbClr val="199EC7"/>
    <a:srgbClr val="EC555C"/>
    <a:srgbClr val="00BCD4"/>
    <a:srgbClr val="C218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701"/>
  </p:normalViewPr>
  <p:slideViewPr>
    <p:cSldViewPr>
      <p:cViewPr>
        <p:scale>
          <a:sx n="85" d="100"/>
          <a:sy n="85" d="100"/>
        </p:scale>
        <p:origin x="2944" y="9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9424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22272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6392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167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3683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9267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07025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3375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715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5275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9135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B61256-6BA4-49EC-9A73-925552C07BA8}" type="datetimeFigureOut">
              <a:rPr lang="ko-KR" altLang="en-US" smtClean="0"/>
              <a:t>2024. 12. 24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4F317F-0412-4F1D-BC24-F7BD92A4FF0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844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순서도: 지연 12"/>
          <p:cNvSpPr/>
          <p:nvPr/>
        </p:nvSpPr>
        <p:spPr>
          <a:xfrm rot="5400000">
            <a:off x="-89639" y="-111138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순서도: 지연 14"/>
          <p:cNvSpPr/>
          <p:nvPr/>
        </p:nvSpPr>
        <p:spPr>
          <a:xfrm rot="5400000">
            <a:off x="774457" y="-105381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순서도: 지연 15"/>
          <p:cNvSpPr/>
          <p:nvPr/>
        </p:nvSpPr>
        <p:spPr>
          <a:xfrm rot="5400000">
            <a:off x="1638553" y="-111788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순서도: 지연 16"/>
          <p:cNvSpPr/>
          <p:nvPr/>
        </p:nvSpPr>
        <p:spPr>
          <a:xfrm rot="5400000">
            <a:off x="2502649" y="-109932"/>
            <a:ext cx="650346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순서도: 지연 17"/>
          <p:cNvSpPr/>
          <p:nvPr/>
        </p:nvSpPr>
        <p:spPr>
          <a:xfrm rot="5400000">
            <a:off x="3362853" y="-106887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순서도: 지연 18"/>
          <p:cNvSpPr/>
          <p:nvPr/>
        </p:nvSpPr>
        <p:spPr>
          <a:xfrm rot="5400000">
            <a:off x="4226949" y="-109756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순서도: 지연 19"/>
          <p:cNvSpPr/>
          <p:nvPr/>
        </p:nvSpPr>
        <p:spPr>
          <a:xfrm rot="5400000">
            <a:off x="5091045" y="-107537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순서도: 지연 20"/>
          <p:cNvSpPr/>
          <p:nvPr/>
        </p:nvSpPr>
        <p:spPr>
          <a:xfrm rot="5400000">
            <a:off x="5955141" y="-105681"/>
            <a:ext cx="650346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순서도: 지연 21"/>
          <p:cNvSpPr/>
          <p:nvPr/>
        </p:nvSpPr>
        <p:spPr>
          <a:xfrm rot="5400000">
            <a:off x="6817229" y="-102636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순서도: 지연 22"/>
          <p:cNvSpPr/>
          <p:nvPr/>
        </p:nvSpPr>
        <p:spPr>
          <a:xfrm rot="5400000">
            <a:off x="7681325" y="-105505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순서도: 지연 23"/>
          <p:cNvSpPr/>
          <p:nvPr/>
        </p:nvSpPr>
        <p:spPr>
          <a:xfrm rot="5400000">
            <a:off x="8545421" y="-103286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4" name="그룹 13"/>
          <p:cNvGrpSpPr/>
          <p:nvPr/>
        </p:nvGrpSpPr>
        <p:grpSpPr>
          <a:xfrm rot="10800000">
            <a:off x="-185138" y="5571987"/>
            <a:ext cx="9499156" cy="1296146"/>
            <a:chOff x="622070" y="3203018"/>
            <a:chExt cx="9499156" cy="1725171"/>
          </a:xfrm>
        </p:grpSpPr>
        <p:sp>
          <p:nvSpPr>
            <p:cNvPr id="39" name="순서도: 지연 38"/>
            <p:cNvSpPr/>
            <p:nvPr/>
          </p:nvSpPr>
          <p:spPr>
            <a:xfrm rot="5400000">
              <a:off x="194474" y="3636497"/>
              <a:ext cx="1719288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0" name="순서도: 지연 39"/>
            <p:cNvSpPr/>
            <p:nvPr/>
          </p:nvSpPr>
          <p:spPr>
            <a:xfrm rot="5400000">
              <a:off x="1342150" y="3355135"/>
              <a:ext cx="1152127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1" name="순서도: 지연 40"/>
            <p:cNvSpPr/>
            <p:nvPr/>
          </p:nvSpPr>
          <p:spPr>
            <a:xfrm rot="5400000">
              <a:off x="2020548" y="3542691"/>
              <a:ext cx="1523526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2" name="순서도: 지연 41"/>
            <p:cNvSpPr/>
            <p:nvPr/>
          </p:nvSpPr>
          <p:spPr>
            <a:xfrm rot="5400000">
              <a:off x="2782118" y="3635744"/>
              <a:ext cx="1720792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3" name="순서도: 지연 42"/>
            <p:cNvSpPr/>
            <p:nvPr/>
          </p:nvSpPr>
          <p:spPr>
            <a:xfrm rot="5400000">
              <a:off x="3930546" y="3357168"/>
              <a:ext cx="1152128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4" name="순서도: 지연 43"/>
            <p:cNvSpPr/>
            <p:nvPr/>
          </p:nvSpPr>
          <p:spPr>
            <a:xfrm rot="5400000">
              <a:off x="4701670" y="3443732"/>
              <a:ext cx="1338072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순서도: 지연 44"/>
            <p:cNvSpPr/>
            <p:nvPr/>
          </p:nvSpPr>
          <p:spPr>
            <a:xfrm rot="5400000">
              <a:off x="5658738" y="3352617"/>
              <a:ext cx="1152128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6" name="순서도: 지연 45"/>
            <p:cNvSpPr/>
            <p:nvPr/>
          </p:nvSpPr>
          <p:spPr>
            <a:xfrm rot="5400000">
              <a:off x="6282228" y="3585632"/>
              <a:ext cx="1629323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7" name="순서도: 지연 46"/>
            <p:cNvSpPr/>
            <p:nvPr/>
          </p:nvSpPr>
          <p:spPr>
            <a:xfrm rot="5400000">
              <a:off x="7292966" y="3444749"/>
              <a:ext cx="1336040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8" name="순서도: 지연 47"/>
            <p:cNvSpPr/>
            <p:nvPr/>
          </p:nvSpPr>
          <p:spPr>
            <a:xfrm rot="5400000">
              <a:off x="8062329" y="3541701"/>
              <a:ext cx="1525507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9" name="순서도: 지연 48"/>
            <p:cNvSpPr/>
            <p:nvPr/>
          </p:nvSpPr>
          <p:spPr>
            <a:xfrm rot="5400000">
              <a:off x="9113114" y="3356868"/>
              <a:ext cx="1152128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9904" y="6217850"/>
            <a:ext cx="414011" cy="508865"/>
            <a:chOff x="1122144" y="4146298"/>
            <a:chExt cx="414011" cy="508865"/>
          </a:xfrm>
        </p:grpSpPr>
        <p:grpSp>
          <p:nvGrpSpPr>
            <p:cNvPr id="35" name="그룹 34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36" name="타원 35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7" name="타원 36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0" name="순서도: 지연 49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1768096" y="6115817"/>
            <a:ext cx="414011" cy="508865"/>
            <a:chOff x="1122144" y="4146298"/>
            <a:chExt cx="414011" cy="508865"/>
          </a:xfrm>
        </p:grpSpPr>
        <p:grpSp>
          <p:nvGrpSpPr>
            <p:cNvPr id="52" name="그룹 5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54" name="타원 5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5" name="타원 5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3" name="순서도: 지연 5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6" name="그룹 55"/>
          <p:cNvGrpSpPr/>
          <p:nvPr/>
        </p:nvGrpSpPr>
        <p:grpSpPr>
          <a:xfrm>
            <a:off x="3499926" y="6190753"/>
            <a:ext cx="414011" cy="508865"/>
            <a:chOff x="1122144" y="4146298"/>
            <a:chExt cx="414011" cy="508865"/>
          </a:xfrm>
        </p:grpSpPr>
        <p:grpSp>
          <p:nvGrpSpPr>
            <p:cNvPr id="57" name="그룹 5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59" name="타원 5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0" name="타원 5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8" name="순서도: 지연 5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61" name="그룹 60"/>
          <p:cNvGrpSpPr/>
          <p:nvPr/>
        </p:nvGrpSpPr>
        <p:grpSpPr>
          <a:xfrm>
            <a:off x="5231756" y="6265689"/>
            <a:ext cx="414011" cy="508865"/>
            <a:chOff x="1122144" y="4146298"/>
            <a:chExt cx="414011" cy="508865"/>
          </a:xfrm>
        </p:grpSpPr>
        <p:grpSp>
          <p:nvGrpSpPr>
            <p:cNvPr id="62" name="그룹 6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64" name="타원 6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5" name="타원 6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63" name="순서도: 지연 6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963586" y="5995134"/>
            <a:ext cx="414011" cy="508865"/>
            <a:chOff x="1122144" y="4146298"/>
            <a:chExt cx="414011" cy="508865"/>
          </a:xfrm>
        </p:grpSpPr>
        <p:grpSp>
          <p:nvGrpSpPr>
            <p:cNvPr id="67" name="그룹 6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69" name="타원 6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0" name="타원 6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68" name="순서도: 지연 6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1" name="그룹 70"/>
          <p:cNvGrpSpPr/>
          <p:nvPr/>
        </p:nvGrpSpPr>
        <p:grpSpPr>
          <a:xfrm>
            <a:off x="8695416" y="5724579"/>
            <a:ext cx="414011" cy="508865"/>
            <a:chOff x="1122144" y="4146298"/>
            <a:chExt cx="414011" cy="508865"/>
          </a:xfrm>
        </p:grpSpPr>
        <p:grpSp>
          <p:nvGrpSpPr>
            <p:cNvPr id="72" name="그룹 7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74" name="타원 7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5" name="타원 7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3" name="순서도: 지연 7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6" name="그룹 75"/>
          <p:cNvGrpSpPr/>
          <p:nvPr/>
        </p:nvGrpSpPr>
        <p:grpSpPr>
          <a:xfrm>
            <a:off x="7821378" y="6190753"/>
            <a:ext cx="414011" cy="508865"/>
            <a:chOff x="1122144" y="4146298"/>
            <a:chExt cx="414011" cy="508865"/>
          </a:xfrm>
        </p:grpSpPr>
        <p:grpSp>
          <p:nvGrpSpPr>
            <p:cNvPr id="77" name="그룹 7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79" name="타원 7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0" name="타원 7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8" name="순서도: 지연 7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1" name="그룹 80"/>
          <p:cNvGrpSpPr/>
          <p:nvPr/>
        </p:nvGrpSpPr>
        <p:grpSpPr>
          <a:xfrm>
            <a:off x="6073308" y="5879910"/>
            <a:ext cx="414011" cy="508865"/>
            <a:chOff x="1122144" y="4146298"/>
            <a:chExt cx="414011" cy="508865"/>
          </a:xfrm>
        </p:grpSpPr>
        <p:grpSp>
          <p:nvGrpSpPr>
            <p:cNvPr id="82" name="그룹 8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84" name="타원 8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5" name="타원 8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83" name="순서도: 지연 8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6" name="그룹 85"/>
          <p:cNvGrpSpPr/>
          <p:nvPr/>
        </p:nvGrpSpPr>
        <p:grpSpPr>
          <a:xfrm>
            <a:off x="4345116" y="6134342"/>
            <a:ext cx="414011" cy="508865"/>
            <a:chOff x="1122144" y="4146298"/>
            <a:chExt cx="414011" cy="508865"/>
          </a:xfrm>
        </p:grpSpPr>
        <p:grpSp>
          <p:nvGrpSpPr>
            <p:cNvPr id="87" name="그룹 8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89" name="타원 8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0" name="타원 8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88" name="순서도: 지연 8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1" name="그룹 90"/>
          <p:cNvGrpSpPr/>
          <p:nvPr/>
        </p:nvGrpSpPr>
        <p:grpSpPr>
          <a:xfrm>
            <a:off x="2632192" y="5922268"/>
            <a:ext cx="414011" cy="508865"/>
            <a:chOff x="1122144" y="4146298"/>
            <a:chExt cx="414011" cy="508865"/>
          </a:xfrm>
        </p:grpSpPr>
        <p:grpSp>
          <p:nvGrpSpPr>
            <p:cNvPr id="92" name="그룹 9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94" name="타원 9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5" name="타원 9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3" name="순서도: 지연 9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6" name="그룹 95"/>
          <p:cNvGrpSpPr/>
          <p:nvPr/>
        </p:nvGrpSpPr>
        <p:grpSpPr>
          <a:xfrm>
            <a:off x="904000" y="5935286"/>
            <a:ext cx="414011" cy="508865"/>
            <a:chOff x="1122144" y="4146298"/>
            <a:chExt cx="414011" cy="508865"/>
          </a:xfrm>
        </p:grpSpPr>
        <p:grpSp>
          <p:nvGrpSpPr>
            <p:cNvPr id="97" name="그룹 9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99" name="타원 9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0" name="타원 9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8" name="순서도: 지연 9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23351" y="1480086"/>
            <a:ext cx="912064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6600" dirty="0">
                <a:solidFill>
                  <a:srgbClr val="FCB410"/>
                </a:solidFill>
                <a:latin typeface="CookieRun Black" panose="020B0600000101010101" pitchFamily="50" charset="-127"/>
                <a:ea typeface="CookieRun Black" panose="020B0600000101010101" pitchFamily="50" charset="-127"/>
              </a:rPr>
              <a:t>John T</a:t>
            </a:r>
            <a:r>
              <a:rPr lang="ko-KR" altLang="en-US" sz="6600" dirty="0">
                <a:solidFill>
                  <a:srgbClr val="FCB410"/>
                </a:solidFill>
                <a:latin typeface="CookieRun Black" panose="020B0600000101010101" pitchFamily="50" charset="-127"/>
                <a:ea typeface="CookieRun Black" panose="020B0600000101010101" pitchFamily="50" charset="-127"/>
              </a:rPr>
              <a:t> </a:t>
            </a:r>
            <a:r>
              <a:rPr lang="en-US" altLang="ko-KR" sz="6600" dirty="0">
                <a:solidFill>
                  <a:srgbClr val="40BC86"/>
                </a:solidFill>
                <a:latin typeface="CookieRun Black" panose="020B0600000101010101" pitchFamily="50" charset="-127"/>
                <a:ea typeface="CookieRun Black" panose="020B0600000101010101" pitchFamily="50" charset="-127"/>
              </a:rPr>
              <a:t>Beyond</a:t>
            </a:r>
            <a:r>
              <a:rPr lang="ko-KR" altLang="en-US" sz="9600" dirty="0">
                <a:latin typeface="CookieRun Black" panose="020B0600000101010101" pitchFamily="50" charset="-127"/>
                <a:ea typeface="CookieRun Black" panose="020B0600000101010101" pitchFamily="50" charset="-127"/>
              </a:rPr>
              <a:t> </a:t>
            </a:r>
            <a:endParaRPr lang="en-US" altLang="ko-KR" sz="9600" dirty="0">
              <a:latin typeface="CookieRun Black" panose="020B0600000101010101" pitchFamily="50" charset="-127"/>
              <a:ea typeface="CookieRun Black" panose="020B0600000101010101" pitchFamily="50" charset="-127"/>
            </a:endParaRPr>
          </a:p>
          <a:p>
            <a:pPr algn="ctr"/>
            <a:r>
              <a:rPr lang="ko-KR" altLang="en-US" sz="9600" dirty="0">
                <a:solidFill>
                  <a:srgbClr val="EC555C"/>
                </a:solidFill>
                <a:latin typeface="CookieRun Black" panose="020B0600000101010101" pitchFamily="50" charset="-127"/>
                <a:ea typeface="CookieRun Black" panose="020B0600000101010101" pitchFamily="50" charset="-127"/>
              </a:rPr>
              <a:t>퀴즈</a:t>
            </a:r>
            <a:r>
              <a:rPr lang="en-US" altLang="ko-KR" sz="9600" dirty="0">
                <a:solidFill>
                  <a:srgbClr val="EC555C"/>
                </a:solidFill>
                <a:latin typeface="CookieRun Black" panose="020B0600000101010101" pitchFamily="50" charset="-127"/>
                <a:ea typeface="CookieRun Black" panose="020B0600000101010101" pitchFamily="50" charset="-127"/>
              </a:rPr>
              <a:t>!</a:t>
            </a:r>
            <a:endParaRPr lang="en-US" altLang="ko-KR" sz="9600" dirty="0">
              <a:latin typeface="CookieRun Black" panose="020B0600000101010101" pitchFamily="50" charset="-127"/>
              <a:ea typeface="CookieRun Black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3404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87E7FA-7A11-E34E-0AF5-8F486AA8D6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4F56BADC-4CDE-3EB8-A0D7-40B55200333D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C2A2D5AF-539A-FB35-F37C-26E324B8DDD3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9D5340A1-1D1D-7E85-1252-C0DFB98E3E1A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20F0FF3A-11EC-6D8A-8BB5-5044AFA12AF5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0F140B34-A716-91D9-DFD2-298F362AFE46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C4C24201-FBCC-08F2-466E-05C24C569B50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71FB9A94-54F7-3315-E912-3313FF524389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9564F853-BEFF-BDDC-D881-C061D0F5482D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5A2F2ABB-F18A-3AB3-EC5D-2531AB840A17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8BCEBE93-3EA8-9063-0576-88BA8C47FCF6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94F2F269-B90E-173A-7181-97C2ED018CE3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3D8BE23A-C1EF-6AA5-F8F0-9CFA9F707295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C34E663B-FDA3-1C4C-7764-CAAB0C801182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3E5C7EA6-7749-DCFA-D3D1-A728E8357680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CD1A5B4-6AC3-8F92-C60A-0F0328274A36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007D2FE0-14A3-C15D-0983-46A40D8529D6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272FBBAB-0F22-3F0B-8069-72FC6203EEC3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5DEA9F4D-0641-9A9A-C2D4-A539FBAEE51C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A72869F5-7A12-D164-1E32-DB6A7FA248E5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AF16E053-1BAD-5323-FF33-0BEA63C8F6F5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84693D23-9A3A-89AA-4D8C-E957B3893AF3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77B157A4-325F-FA51-F508-90A38DC496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5B01911D-9B7A-DC68-C063-9DC13395A9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9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EA86992-B96B-FC76-CD6D-0C4062DD22D5}"/>
              </a:ext>
            </a:extLst>
          </p:cNvPr>
          <p:cNvSpPr txBox="1"/>
          <p:nvPr/>
        </p:nvSpPr>
        <p:spPr>
          <a:xfrm>
            <a:off x="198045" y="1707773"/>
            <a:ext cx="874791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Ph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의 소리는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알파벳 어떤 발음과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 err="1">
                <a:latin typeface="CookieRun Bold" panose="020B0600000101010101" pitchFamily="50" charset="-127"/>
                <a:ea typeface="CookieRun Bold" panose="020B0600000101010101" pitchFamily="50" charset="-127"/>
              </a:rPr>
              <a:t>같은지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 알파벳을 </a:t>
            </a:r>
            <a:r>
              <a:rPr lang="ko-KR" altLang="en-US" sz="5400" dirty="0" err="1">
                <a:latin typeface="CookieRun Bold" panose="020B0600000101010101" pitchFamily="50" charset="-127"/>
                <a:ea typeface="CookieRun Bold" panose="020B0600000101010101" pitchFamily="50" charset="-127"/>
              </a:rPr>
              <a:t>적으시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!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9882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98A23-7F8E-B0A3-E88A-2ADC20D7B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99328C48-15B7-4B8F-AEDB-8BBD709C27BE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255AABE1-4A95-1FA8-DADF-F5D5B3BF9678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DFCA489D-3120-FF1D-76A6-49794634C540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73DFF4C0-1A71-B4A4-770F-BE17968177FE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5122CE48-4F34-58D0-86F0-E9E5A8556A38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13675443-631B-9A2B-815B-831C67DA4AD3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8E8EA77D-D717-2E1A-800A-8B62A942169E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D350C322-4011-65BF-5D49-A73EE1AB0FCC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5341DF8C-F1F7-0783-F9B2-6FE0AFDCEC93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F1C63563-2F5C-938E-6446-E87F3D1DACEE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02EF7DDD-7C17-FC52-7B32-2A4AD8DD0A9E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27FA62B6-94B3-9FA0-005B-546D3600987F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F1221346-CB1F-C0BB-FA62-42D20D06B482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5339639A-FA2B-157F-B69E-9BB22D1CE278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7193A8C-FE35-2537-3C56-315D7E00C9DB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F5AC655F-3B68-0CAF-F1B7-E5AB6064F6C8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61D58F88-334A-AD43-DD6F-761BCDBD8663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181B1A99-F29B-9FC0-B13A-9DED128A234C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271E8BD8-87FA-EEE2-82A6-351C30DF5011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94EEA72E-A99F-68F1-9527-0B04C83C3119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F5A7FA0B-1517-04D5-B92A-8745DD8436E7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3A99EB39-F96C-9167-B5DC-E2D92AF22A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EEBEFFFD-B618-49D3-1F5F-450FC504DF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0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7159DEC-BF98-8F5E-2D7A-D14287E1AC00}"/>
              </a:ext>
            </a:extLst>
          </p:cNvPr>
          <p:cNvSpPr txBox="1"/>
          <p:nvPr/>
        </p:nvSpPr>
        <p:spPr>
          <a:xfrm>
            <a:off x="198045" y="1707773"/>
            <a:ext cx="874791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문장 중간에는 대문자가 절대로 들어갈 수 없다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맞으면 </a:t>
            </a:r>
            <a:r>
              <a:rPr kumimoji="0" lang="en-US" altLang="ko-KR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O</a:t>
            </a: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틀리면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X</a:t>
            </a: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71282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86298E-0FB5-790D-C64B-E2ADFBFE6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61E38982-6C6B-D29F-5F93-C97DE5A6D0E5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82CEDD9D-1F28-86D7-4A55-410C2A15E8ED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A1BA55BD-6582-A4EE-AF77-F4FD0B3B88B1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3E6AE7BC-B06C-8872-DF62-59C214663883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A8DC0E36-3593-8044-CC0F-BA4ABB3B44F3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A10C8B40-60AC-5090-EA95-476BAB9DD646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715EFA73-B42A-85EB-B157-FD3B3CB8655B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A121CEAD-9AEB-2BDC-FCD6-74BC58683D3B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53E55636-0486-1AD3-1C11-DA53752E2433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7994807D-8501-C68E-B42A-540D49E8F967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9B4011D3-98C3-A6CB-17B7-2F7EC37872BC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0DDF42C1-8B99-09DC-AB83-3E55FE3276BC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EAFD78B5-3769-DD65-8B36-5E51B29751D9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1DA4954B-47A4-D1BC-E567-CD8D8CEB36D3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BBB179AC-019F-291B-A73D-F264D86D6A92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4ED4869C-A563-2F4F-CF7E-88FB27FE8137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710089B-C6A1-C6EF-C8E5-E5D8293A1F6A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B39FFF23-7F09-DD39-998B-40E8BDE7C0B2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9C869431-B4F0-E671-EB7E-7C5C06BFED5E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48F3518B-D152-C7DA-F607-6FBD0FD8241C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18D3C7ED-41A2-B6B0-E1CA-727CAEF81861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8B3D315A-4F25-D3DC-B9C8-139D2EB1C91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3CFED929-A04C-6682-DD51-F311BE7771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1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DFBB654-4334-5A38-FE74-FE9C25CE1DC5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자기 이름을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영어로 쓰세요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554473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33F6A-801F-CE7A-8D36-322A529E5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C7856C63-7D36-6838-3562-593CE15EB7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C7856C63-7D36-6838-3562-593CE15EB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>
            <a:extLst>
              <a:ext uri="{FF2B5EF4-FFF2-40B4-BE49-F238E27FC236}">
                <a16:creationId xmlns:a16="http://schemas.microsoft.com/office/drawing/2014/main" id="{9CFAAB54-6E72-DD25-2F37-73F7725B02C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-196513" y="-4251"/>
            <a:ext cx="10363252" cy="878188"/>
            <a:chOff x="-196513" y="-4251"/>
            <a:chExt cx="10363252" cy="878188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F4058FCA-BAB0-0026-A6D3-5B6578EB8297}"/>
                </a:ext>
              </a:extLst>
            </p:cNvPr>
            <p:cNvSpPr/>
            <p:nvPr/>
          </p:nvSpPr>
          <p:spPr>
            <a:xfrm rot="5400000">
              <a:off x="-197271" y="-624"/>
              <a:ext cx="865611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97AD7B20-734B-21C9-0819-6A044BF7D739}"/>
                </a:ext>
              </a:extLst>
            </p:cNvPr>
            <p:cNvSpPr/>
            <p:nvPr/>
          </p:nvSpPr>
          <p:spPr>
            <a:xfrm rot="5400000">
              <a:off x="666825" y="-3493"/>
              <a:ext cx="865611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9FB28C43-4701-CE94-3767-C043BF90795D}"/>
                </a:ext>
              </a:extLst>
            </p:cNvPr>
            <p:cNvSpPr/>
            <p:nvPr/>
          </p:nvSpPr>
          <p:spPr>
            <a:xfrm rot="5400000">
              <a:off x="1530921" y="-1274"/>
              <a:ext cx="865611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41AF567E-1777-7874-A9D7-85DAF6506253}"/>
                </a:ext>
              </a:extLst>
            </p:cNvPr>
            <p:cNvSpPr/>
            <p:nvPr/>
          </p:nvSpPr>
          <p:spPr>
            <a:xfrm rot="5400000">
              <a:off x="2395017" y="582"/>
              <a:ext cx="865611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8BA87AC5-DE85-3827-10BF-40644A69AF61}"/>
                </a:ext>
              </a:extLst>
            </p:cNvPr>
            <p:cNvSpPr/>
            <p:nvPr/>
          </p:nvSpPr>
          <p:spPr>
            <a:xfrm rot="5400000">
              <a:off x="3255221" y="3627"/>
              <a:ext cx="865611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D85A7B44-18D6-B6F9-BD08-DCB8C56C1243}"/>
                </a:ext>
              </a:extLst>
            </p:cNvPr>
            <p:cNvSpPr/>
            <p:nvPr/>
          </p:nvSpPr>
          <p:spPr>
            <a:xfrm rot="5400000">
              <a:off x="4119317" y="758"/>
              <a:ext cx="865611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C93E3FBF-5D7C-05B0-DFAD-3CEE8D5BE0CA}"/>
                </a:ext>
              </a:extLst>
            </p:cNvPr>
            <p:cNvSpPr/>
            <p:nvPr/>
          </p:nvSpPr>
          <p:spPr>
            <a:xfrm rot="5400000">
              <a:off x="4983413" y="2977"/>
              <a:ext cx="865611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C3BF967A-1283-02AB-E1BF-A61B16359324}"/>
                </a:ext>
              </a:extLst>
            </p:cNvPr>
            <p:cNvSpPr/>
            <p:nvPr/>
          </p:nvSpPr>
          <p:spPr>
            <a:xfrm rot="5400000">
              <a:off x="5847509" y="4833"/>
              <a:ext cx="865611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027F0128-B3CB-BB32-43E9-B2565C891E3D}"/>
                </a:ext>
              </a:extLst>
            </p:cNvPr>
            <p:cNvSpPr/>
            <p:nvPr/>
          </p:nvSpPr>
          <p:spPr>
            <a:xfrm rot="5400000">
              <a:off x="6709597" y="-748"/>
              <a:ext cx="865611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643F1AEB-8D0A-9536-ED29-AA43B45EFAF9}"/>
                </a:ext>
              </a:extLst>
            </p:cNvPr>
            <p:cNvSpPr/>
            <p:nvPr/>
          </p:nvSpPr>
          <p:spPr>
            <a:xfrm rot="5400000">
              <a:off x="7573693" y="5009"/>
              <a:ext cx="865611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800068D0-354F-36D6-E464-8579D1036F12}"/>
                </a:ext>
              </a:extLst>
            </p:cNvPr>
            <p:cNvSpPr/>
            <p:nvPr/>
          </p:nvSpPr>
          <p:spPr>
            <a:xfrm rot="5400000">
              <a:off x="8437789" y="-1398"/>
              <a:ext cx="865611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69D36F46-0EF8-16D4-8410-C17B0961E609}"/>
                </a:ext>
              </a:extLst>
            </p:cNvPr>
            <p:cNvSpPr/>
            <p:nvPr/>
          </p:nvSpPr>
          <p:spPr>
            <a:xfrm rot="5400000">
              <a:off x="9301885" y="9084"/>
              <a:ext cx="865611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0" name="순서도: 지연 39">
            <a:extLst>
              <a:ext uri="{FF2B5EF4-FFF2-40B4-BE49-F238E27FC236}">
                <a16:creationId xmlns:a16="http://schemas.microsoft.com/office/drawing/2014/main" id="{87A1BB0C-3F0A-AE64-EBD7-0FC346E17225}"/>
              </a:ext>
            </a:extLst>
          </p:cNvPr>
          <p:cNvSpPr/>
          <p:nvPr/>
        </p:nvSpPr>
        <p:spPr>
          <a:xfrm rot="16200000">
            <a:off x="6717226" y="5993146"/>
            <a:ext cx="865611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순서도: 지연 41">
            <a:extLst>
              <a:ext uri="{FF2B5EF4-FFF2-40B4-BE49-F238E27FC236}">
                <a16:creationId xmlns:a16="http://schemas.microsoft.com/office/drawing/2014/main" id="{DF23E718-BADD-CC49-A0BB-5514D6DD1D68}"/>
              </a:ext>
            </a:extLst>
          </p:cNvPr>
          <p:cNvSpPr/>
          <p:nvPr/>
        </p:nvSpPr>
        <p:spPr>
          <a:xfrm rot="16200000">
            <a:off x="5853130" y="5987200"/>
            <a:ext cx="865611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순서도: 지연 42">
            <a:extLst>
              <a:ext uri="{FF2B5EF4-FFF2-40B4-BE49-F238E27FC236}">
                <a16:creationId xmlns:a16="http://schemas.microsoft.com/office/drawing/2014/main" id="{EBAC4EAA-8060-4920-362B-85B4679CE413}"/>
              </a:ext>
            </a:extLst>
          </p:cNvPr>
          <p:cNvSpPr/>
          <p:nvPr/>
        </p:nvSpPr>
        <p:spPr>
          <a:xfrm rot="16200000">
            <a:off x="4989035" y="5993384"/>
            <a:ext cx="865611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순서도: 지연 43">
            <a:extLst>
              <a:ext uri="{FF2B5EF4-FFF2-40B4-BE49-F238E27FC236}">
                <a16:creationId xmlns:a16="http://schemas.microsoft.com/office/drawing/2014/main" id="{22D340A3-0CDA-93A4-A085-121578F7EA4C}"/>
              </a:ext>
            </a:extLst>
          </p:cNvPr>
          <p:cNvSpPr/>
          <p:nvPr/>
        </p:nvSpPr>
        <p:spPr>
          <a:xfrm rot="16200000">
            <a:off x="4124938" y="5987688"/>
            <a:ext cx="865611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순서도: 지연 44">
            <a:extLst>
              <a:ext uri="{FF2B5EF4-FFF2-40B4-BE49-F238E27FC236}">
                <a16:creationId xmlns:a16="http://schemas.microsoft.com/office/drawing/2014/main" id="{B1CBD652-ACC4-BAFD-0236-9C4269C72FE9}"/>
              </a:ext>
            </a:extLst>
          </p:cNvPr>
          <p:cNvSpPr/>
          <p:nvPr/>
        </p:nvSpPr>
        <p:spPr>
          <a:xfrm rot="16200000">
            <a:off x="3260842" y="5986294"/>
            <a:ext cx="865611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순서도: 지연 45">
            <a:extLst>
              <a:ext uri="{FF2B5EF4-FFF2-40B4-BE49-F238E27FC236}">
                <a16:creationId xmlns:a16="http://schemas.microsoft.com/office/drawing/2014/main" id="{360A051B-63B6-4573-59F4-7B64CC22947B}"/>
              </a:ext>
            </a:extLst>
          </p:cNvPr>
          <p:cNvSpPr/>
          <p:nvPr/>
        </p:nvSpPr>
        <p:spPr>
          <a:xfrm rot="16200000">
            <a:off x="2398754" y="5990487"/>
            <a:ext cx="865611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순서도: 지연 46">
            <a:extLst>
              <a:ext uri="{FF2B5EF4-FFF2-40B4-BE49-F238E27FC236}">
                <a16:creationId xmlns:a16="http://schemas.microsoft.com/office/drawing/2014/main" id="{9386D739-DAAA-056A-459A-D07944454D37}"/>
              </a:ext>
            </a:extLst>
          </p:cNvPr>
          <p:cNvSpPr/>
          <p:nvPr/>
        </p:nvSpPr>
        <p:spPr>
          <a:xfrm rot="16200000">
            <a:off x="1534658" y="5986161"/>
            <a:ext cx="865611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순서도: 지연 47">
            <a:extLst>
              <a:ext uri="{FF2B5EF4-FFF2-40B4-BE49-F238E27FC236}">
                <a16:creationId xmlns:a16="http://schemas.microsoft.com/office/drawing/2014/main" id="{11265D1C-66C5-12A5-9A2C-EBB5DB1977BE}"/>
              </a:ext>
            </a:extLst>
          </p:cNvPr>
          <p:cNvSpPr/>
          <p:nvPr/>
        </p:nvSpPr>
        <p:spPr>
          <a:xfrm rot="16200000">
            <a:off x="670562" y="5984494"/>
            <a:ext cx="865611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순서도: 지연 48">
            <a:extLst>
              <a:ext uri="{FF2B5EF4-FFF2-40B4-BE49-F238E27FC236}">
                <a16:creationId xmlns:a16="http://schemas.microsoft.com/office/drawing/2014/main" id="{CF3663E6-7265-CE97-BB12-5B4F8B714643}"/>
              </a:ext>
            </a:extLst>
          </p:cNvPr>
          <p:cNvSpPr/>
          <p:nvPr/>
        </p:nvSpPr>
        <p:spPr>
          <a:xfrm rot="16200000">
            <a:off x="-193534" y="5983100"/>
            <a:ext cx="865611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FE059DF3-4D5A-B5EB-429C-C9133A4DC207}"/>
              </a:ext>
            </a:extLst>
          </p:cNvPr>
          <p:cNvGrpSpPr/>
          <p:nvPr/>
        </p:nvGrpSpPr>
        <p:grpSpPr>
          <a:xfrm>
            <a:off x="8605760" y="4433444"/>
            <a:ext cx="529668" cy="655999"/>
            <a:chOff x="7858756" y="4566727"/>
            <a:chExt cx="529668" cy="655999"/>
          </a:xfrm>
        </p:grpSpPr>
        <p:sp>
          <p:nvSpPr>
            <p:cNvPr id="33" name="하트 32">
              <a:extLst>
                <a:ext uri="{FF2B5EF4-FFF2-40B4-BE49-F238E27FC236}">
                  <a16:creationId xmlns:a16="http://schemas.microsoft.com/office/drawing/2014/main" id="{2E1B9721-C1CE-472A-D88C-E95A8706409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7858756" y="4934694"/>
              <a:ext cx="283423" cy="288032"/>
            </a:xfrm>
            <a:prstGeom prst="heart">
              <a:avLst/>
            </a:prstGeom>
            <a:solidFill>
              <a:srgbClr val="E91E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4" name="하트 33">
              <a:extLst>
                <a:ext uri="{FF2B5EF4-FFF2-40B4-BE49-F238E27FC236}">
                  <a16:creationId xmlns:a16="http://schemas.microsoft.com/office/drawing/2014/main" id="{7E835343-4EE1-BB4D-6FAE-9756CBD9E80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8076659" y="4566727"/>
              <a:ext cx="311765" cy="316835"/>
            </a:xfrm>
            <a:prstGeom prst="heart">
              <a:avLst/>
            </a:prstGeom>
            <a:solidFill>
              <a:srgbClr val="E91E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36929EEC-4144-33B2-BA81-C36DD598A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8620" y="1699671"/>
            <a:ext cx="84357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1500" dirty="0" err="1">
                <a:latin typeface="CookieRun Bold" panose="020B0600000101010101" pitchFamily="50" charset="-127"/>
                <a:ea typeface="CookieRun Bold" panose="020B0600000101010101" pitchFamily="50" charset="-127"/>
              </a:rPr>
              <a:t>넌센스</a:t>
            </a:r>
            <a:r>
              <a:rPr lang="ko-KR" altLang="en-US" sz="115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 퀴즈</a:t>
            </a:r>
            <a:endParaRPr kumimoji="0" lang="en-US" altLang="ko-KR" sz="96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3766881E-2CF9-756B-98BE-F5C1C1F7E8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96099" y="4945427"/>
            <a:ext cx="1880900" cy="2362802"/>
            <a:chOff x="1859320" y="2564904"/>
            <a:chExt cx="1174887" cy="1510750"/>
          </a:xfrm>
        </p:grpSpPr>
        <p:sp>
          <p:nvSpPr>
            <p:cNvPr id="9" name="순서도: 지연 8">
              <a:extLst>
                <a:ext uri="{FF2B5EF4-FFF2-40B4-BE49-F238E27FC236}">
                  <a16:creationId xmlns:a16="http://schemas.microsoft.com/office/drawing/2014/main" id="{995DD380-AE44-A2E8-7A93-694724C0BF13}"/>
                </a:ext>
              </a:extLst>
            </p:cNvPr>
            <p:cNvSpPr/>
            <p:nvPr/>
          </p:nvSpPr>
          <p:spPr>
            <a:xfrm rot="16200000">
              <a:off x="1691389" y="2732835"/>
              <a:ext cx="1510750" cy="1174887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26ABDEE9-AAEC-D328-BF5D-F1AE3F0EEADB}"/>
                </a:ext>
              </a:extLst>
            </p:cNvPr>
            <p:cNvGrpSpPr/>
            <p:nvPr/>
          </p:nvGrpSpPr>
          <p:grpSpPr>
            <a:xfrm>
              <a:off x="2239758" y="2889317"/>
              <a:ext cx="414011" cy="508865"/>
              <a:chOff x="2380123" y="2852936"/>
              <a:chExt cx="414011" cy="508865"/>
            </a:xfrm>
          </p:grpSpPr>
          <p:grpSp>
            <p:nvGrpSpPr>
              <p:cNvPr id="11" name="그룹 10">
                <a:extLst>
                  <a:ext uri="{FF2B5EF4-FFF2-40B4-BE49-F238E27FC236}">
                    <a16:creationId xmlns:a16="http://schemas.microsoft.com/office/drawing/2014/main" id="{D6EE5933-EFBA-BE62-AA73-2DFB880A0767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26" name="타원 25">
                  <a:extLst>
                    <a:ext uri="{FF2B5EF4-FFF2-40B4-BE49-F238E27FC236}">
                      <a16:creationId xmlns:a16="http://schemas.microsoft.com/office/drawing/2014/main" id="{767F3AB4-F198-BB4D-9BD9-8D6A6F6B14FE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27" name="타원 26">
                  <a:extLst>
                    <a:ext uri="{FF2B5EF4-FFF2-40B4-BE49-F238E27FC236}">
                      <a16:creationId xmlns:a16="http://schemas.microsoft.com/office/drawing/2014/main" id="{F3206D0B-A4BE-87C3-52C9-D5257C31BF7C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12" name="순서도: 지연 11">
                <a:extLst>
                  <a:ext uri="{FF2B5EF4-FFF2-40B4-BE49-F238E27FC236}">
                    <a16:creationId xmlns:a16="http://schemas.microsoft.com/office/drawing/2014/main" id="{003ABD45-34F7-2D93-24BA-F138CB13FB9A}"/>
                  </a:ext>
                </a:extLst>
              </p:cNvPr>
              <p:cNvSpPr/>
              <p:nvPr/>
            </p:nvSpPr>
            <p:spPr>
              <a:xfrm rot="5400000">
                <a:off x="2481742" y="3086186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3" name="모서리가 둥근 사각형 설명선 2">
            <a:extLst>
              <a:ext uri="{FF2B5EF4-FFF2-40B4-BE49-F238E27FC236}">
                <a16:creationId xmlns:a16="http://schemas.microsoft.com/office/drawing/2014/main" id="{B5040D6D-0C05-9CE5-8C47-952074CC0E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32483"/>
              <a:gd name="adj2" fmla="val 66264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2611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489F7-0CFC-1178-C107-C8159756F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BB308411-EE46-3105-B042-8F3187BBDED1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C6D4D647-F96E-F200-9B09-D91EAA5CDFCA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CDBAE7C2-3780-37B8-09AA-BB180CF616EB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AEC2FB6A-276A-23F6-F398-BED37CCDF2EB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4517C6DB-6597-38C7-FE08-0F13B7C57084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DDA9DC0E-D346-E62B-D999-B08B2D65897C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02956B37-7589-1A25-E294-C2A6DB1E54CC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D2CC2CAC-59F9-7197-E295-D546C726972A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F414FBC2-8ED0-587B-3AF1-4254FAA1307C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A5021CC6-32D8-E038-4360-928058C6F4FE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8A86ECCC-6D83-040C-8D2A-6A2F8D43911E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A9711EF5-4F7A-4473-6183-08EE2EAA64CB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F6C085DA-A6DE-6E40-DA30-EBBC7547DE9B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36871237-FB8F-D540-07E2-23D6EDBCF3BC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F5812410-090A-3309-06A5-94149E1A3FE8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CF686C8B-B371-B12A-625B-FCED2744006A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B581E3E9-6AA5-954D-DAC7-8F90442D5EFC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0EF367C2-5173-E1DA-78FA-9615C002536B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B338D6DE-3206-97AF-86F8-A94D17C11C14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55FC671B-41AE-82AD-D1D4-1A22AF26B40C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8F96816F-F185-719E-2DE6-746DFB07BB71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1A3F192E-C8F4-4EBE-93BD-365C10540C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CAF86B4B-8391-334A-E2B3-1AC9306C97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2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FE4F97-BB67-511C-129D-8B09F8F3D8A8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침몰하는 배의 구명보트는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몇 명이 탈 수 있을까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042541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00B7C-EE5C-D7B0-6A23-C50736C59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DC532536-04BF-C72B-A27B-610A08CEE044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386E4BAC-FF7A-80D4-D516-DBBDB87D25FC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0C0E05F8-3C71-E42F-AB76-143B7DB60472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A44205D7-8CBE-6655-053A-5501076AA5E0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6C61D616-3850-AB4D-7793-7EA8ECFAA9A2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892EF9A9-89DC-32DB-AF1A-0F294ADA6123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07DC3F00-4646-04DF-DA38-95CE0908A4A8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46778A61-EBDD-A97B-6380-BF80F27E05C8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A7454A63-93DF-75A2-6586-5B9C3EEA00C7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2F8BC632-4EC6-5156-C0AF-68DBBA58B3E4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2367F814-79D7-21DC-19FD-44903E36E9B6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05F8E81F-812F-AEF4-8C62-EC6F21B244AA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5F52DDA2-6A33-93FC-2000-B06DB5CA9CF7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09370CA3-B6F5-F1E2-933C-9E4602BC38CB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97750AF4-12FC-E07E-413D-FF448C265D6E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FFAB120B-4128-6D26-AA0E-0345600D0D89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3C525B79-3EFE-B2A2-1A0C-A88329EF5C81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1D05B16B-406C-9E0B-3E92-FDCDB07B76B2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C0953A91-A189-662B-8BB7-22951502FB98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BF444AB-E053-1365-52AA-9FB95D399815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71DDB6DE-5AF6-D5B0-4CD6-B7A01BE9B3D9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F5E6445C-DFB5-1D44-7730-B77D039A339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159F2146-547D-04F8-8A50-32B3249F61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3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0256E9A-608E-DFB2-C0D2-0B543AE88F80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호주의 돈을 뭐라할까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1375917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CA84C-4540-16A5-00C3-96F465734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E3C7DC83-846C-AAA8-93AC-F205F73B5B13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AD13B833-38EE-28F9-AED7-E9C746BAAEE5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FB291DBD-C18A-864C-D4B4-7C704D913335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5123F2C4-A58F-2B16-5650-1B527B6344AC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EB908D73-3B34-536B-03FA-D60F2E8A46C4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893F6B4F-A835-7117-DDC4-12FB9C61CE7A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0BEB859D-4F08-4C77-BB60-30F56D409A1E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04A5C0A4-DA59-BF17-07AF-DC4189272F1A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77215C3B-4296-81B6-1F5E-B27BF7F06A9C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C1E541A4-3F17-C63D-B9F2-98ED15734F8B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A1D692D7-66C1-B957-D3A2-7B5D9FCD2271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6F398064-807E-46EA-3656-E349C5A18283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39876846-292E-66DC-E6F5-2C12A01542B8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02AC22F7-75A1-1615-6507-4637E7324EDB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14533E4A-A529-401A-768D-BEC42DEC5E1E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83F4CB1A-51C5-5D85-DF2D-EB9DE8DBC63E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D799F690-5839-C456-1579-83B76AA59B1E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2ABEAB08-5E69-9482-1C58-4B4DB21010AD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541A937F-3E97-B972-6C8F-3EA818DD0C19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E47C955D-0262-7011-ECE3-C3AAF9D3FA5A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2556623D-7B78-DAE1-EE19-AEE315B6F3CB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AAC70A59-F61F-3ADC-2313-0111A570F9F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6721935A-B800-24A7-2137-5E5B5A2CE1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4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1F1F67-EF2D-7346-D58F-4270BD7500D3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땅은 어떻게 울까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9056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1D4CE-35AF-DEA8-48D8-83B9A7C0B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634A12CA-14B2-D537-2C46-26668C6C38CB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483E2DE6-4F5B-459B-150C-710421DBD510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18D0C2BA-F589-E268-0EAA-BC0AEEF89B55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BB4A13D5-1908-D74C-91A4-B99C9FFABCDB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E6E17383-A231-1BB4-C1F3-D423008FCBD7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F37A5929-1AAF-955C-4879-7406230C613F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79AF97C3-33E6-7390-49AF-FCF509587A9F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F9DC5F68-2A0F-E7A9-12FC-48A72ACE4D16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DFAA05AA-C0CF-B879-F8D8-1EC07509D049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8C4194A2-61B0-6FB5-C611-04A4E1AF374B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FBF795C3-8581-F48B-AD69-CAF239F40E69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A4A7736B-9A95-48F3-E163-871DE43DCBD1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F4BA34A6-5043-3C0D-169B-00A4AC17A7F0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D8C1545E-EDA5-4FBA-FF6A-28E95F2021B4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D6423730-878A-83A8-A59A-2D1457EDA422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23B9643E-0FE9-1EEF-7588-B1D69A3ADD5E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7AFFBFD9-5DB3-F41E-5525-F2C482897870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134359A8-D204-5C0B-C2A9-E2BE1C7ECAEC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4BC95C0F-C927-BB52-6E5D-DB466D5EEDC2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C69CC7D-A455-CB88-0051-D18219924918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315C8F48-59F6-3176-D916-7C35AB30EE03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CF9B839C-3DF6-D4CE-C83E-956ACDC49CE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2DC7D254-111B-9755-AE87-39CEAEB3A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5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7732EC1-FF2E-A5D2-98D5-214016021375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별 중에 가장 슬픈 별은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099304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176BA1-9FB1-AEF9-348B-D086B8AC5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355FAA97-F0FC-DA08-0C86-BE49E46D65B3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98C751FF-1195-D2D9-FCB3-FABFED45A87F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FDA9A9B9-9D50-154E-DE0C-151AC11F8368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891A6F5D-3B47-CD82-5928-6BA769EEF0D5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DDC1D9CD-CA87-08EA-C888-3E70D13FB416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5E0D1E76-C181-7A05-FCE9-4FBA44CFC4DC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3BA7F222-0F3B-8629-9DE2-5EB15E6D96CE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10FE6FED-9350-8C6C-A1F5-B39BCDA0197C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99F4BCAA-CA06-DD33-9F56-52F39C696D06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82D91F15-2C52-67DD-1664-1CDDB2801134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0699BF38-4DD5-03D1-D16F-DB3C7AA9E747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72C028AB-36F9-5CD3-3F6A-6FAF160ED93F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518AC705-C493-65A8-3C19-CD5DA2D49B09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D020E35A-56F2-16F0-710D-63648E6F3CF3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BD57CB1-2884-911D-0AA2-9C90795CCC82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EED4D397-3638-E8EA-CA3A-27D4285947F8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D0D8D413-1285-2FDE-3222-D7C9B61E25C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DC0C598C-AF54-2AAB-F331-B0A8E8B7D5CA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D37C7FB5-E358-AFF6-001A-89C83354C06F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443D6805-2B5F-B0B1-5F4E-8358093DAEC4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9DCE4C56-EF57-0364-0F30-D55C5D31728C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C17ACD09-76C9-1181-518E-B324BF2D057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79214AB8-0E6D-9E6D-FC3C-9BCE51C099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6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C51E575-F5AF-1B6B-8059-6B10AFE1C8A8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중학생이랑 고등학생이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타는 차는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6238694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26D10-A7F6-CEB0-C33D-951807D21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1AED684E-C019-FDB6-E9BA-97BF947C8E40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66D667C7-AA30-AFCA-619E-2FDC8D60CF5A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A1B0E09D-17F2-9A37-0A90-93F16CEC7A50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C0F1444E-8752-B773-3B8D-2F0961BD1C10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2E52F4F6-8023-B6CB-59C2-F66BE7A8BAEC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AFFC3329-2054-3EE6-C065-AD132C88EF09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BD1A0A89-8DB6-A78A-7D36-1CA886827D0C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019FC718-0070-D7F7-BD4E-F05D273792B3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D6B33AE8-8D36-C48A-0351-3BA050479351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B70CCF2E-178D-F834-B140-BE090D4773EC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48FF4A24-B24B-67B2-414A-FB8973BD289C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6F0C54F5-845C-93A8-F3E0-4085D034FCC8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30504361-798F-4648-C7B7-95AE0DFD2FA7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A46CFF0C-597E-1482-95C1-5296DEBC6011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FAA0326-5EEF-50D3-00B3-5ED28C112A83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96D5B944-62A4-AB8E-131F-AFCAB0D1080D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BAD4F5-3697-DED1-B65A-1D6359598318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189DF57E-8BFD-391C-552B-67A5C3ADB046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3F1D5219-9FC1-42A4-B117-A639771CC7C4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62244AF5-6856-540D-2C45-88234A39097C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79554EB4-C031-3CC3-B1FC-0C04D828472B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FF6F93C6-A7A5-389A-067B-E9A660993A5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588A193D-E846-5F88-BEA8-68E0854022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7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BC88533-FC89-F233-18B9-B434D21762E0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세상에서 가장 예쁜 개는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6361861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/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/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/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/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/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/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/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/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/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/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/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/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/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C6A1C232-5999-F878-7719-42CC5E6B734E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C90B896F-61B2-CEA8-EC73-FBE6917E8419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38EC4196-0CB2-0127-D1F9-D3327A365D7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B75DA804-7C3C-0D55-F379-485176CE3DA2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26778584-4FC4-C0CC-4883-CCFBB5C1C83D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2BB25BB8-AA25-7EC1-F758-F9FCA60F27F1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4E1BC40E-6416-F248-A95D-70983F65247E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4150D863-9296-48A0-4849-F30D8E9F75B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BE0E24EB-8E69-50FD-8250-D9327C15C3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1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8BAD001-A959-7414-0B62-A2FAE2088E78}"/>
              </a:ext>
            </a:extLst>
          </p:cNvPr>
          <p:cNvSpPr txBox="1"/>
          <p:nvPr/>
        </p:nvSpPr>
        <p:spPr>
          <a:xfrm>
            <a:off x="198045" y="1707773"/>
            <a:ext cx="874791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모음</a:t>
            </a:r>
            <a:r>
              <a:rPr kumimoji="0" lang="en-US" altLang="ko-KR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(Vowel)</a:t>
            </a: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은 모두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4</a:t>
            </a: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개다</a:t>
            </a:r>
            <a:r>
              <a:rPr kumimoji="0" lang="en-US" altLang="ko-KR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맞으면 </a:t>
            </a:r>
            <a:r>
              <a:rPr kumimoji="0" lang="en-US" altLang="ko-KR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O</a:t>
            </a: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틀리면 </a:t>
            </a:r>
            <a:r>
              <a:rPr kumimoji="0" lang="en-US" altLang="ko-KR" sz="5400" b="0" i="0" u="none" strike="noStrike" kern="1200" cap="none" spc="0" normalizeH="0" baseline="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6512094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A65843-14AD-4D0F-4649-FE1AAE0A5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ACAD1447-8668-2BB2-FB0D-71C16266AB31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27E8832E-F6DA-D822-7A4C-1E3BF31E763D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F793DD1F-56EA-AB36-8ED3-5B0A8F885819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A08ECF0B-AC7F-73F0-4FEF-6B634090BE9D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AB627A3C-9C07-7186-DC82-31074802FDBD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1A5BB0B2-9CD6-6EB5-BE82-CBF4292A69F5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8D6EC8EE-1416-1536-3730-DA41D8609492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F8C08A5D-5607-B1EA-7B1E-3EA670ADD91D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E3B9133D-8D03-438D-CC94-633BD1AB6291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565928C3-106E-F983-B18C-0EC7482D7C11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CB8C4F06-AFA7-5237-D7DC-85349B2E822B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EDD507F6-29BD-616D-282D-D2B020C5F6B0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E4E9A52B-F90B-1474-F5BF-1D054B3B38B5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7516A2D1-33AB-1923-A4E3-9955E2D84E49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711001A-1838-A725-7838-5D31E041E704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0DC26D0B-92FF-2604-747E-0D8B67A01CE4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EDE8C68A-865B-BB96-188C-B03D4BC7DCC4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73832184-380C-A063-BBD9-9E32AFAFD1F5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9ACD1883-3B73-A447-5115-D655156593C3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D15AD87-9FFB-ABDC-82DC-4F783651BEBA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711024F0-B0AD-8476-3AAD-5A48B5EC8FED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7E4671BE-9383-FE00-007C-5E6D2FAB0AA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E07B8CA8-9D08-E651-7A19-16AF58C165E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8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F0D347-0D2D-4490-E823-EE8D3D87145C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무가 자기 소개할 때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하는 말은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899578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99F2F-9D87-C0B4-3992-1AA04DBB9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BA4C6A1B-B8AF-C6A7-0215-F0832EDD5671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AA8DE6C2-DC23-709B-7C16-9C7AA50FE0E7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93D4D257-0B92-0CD8-5AA0-790D20791B25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54B92EC8-18FF-74B4-86FC-23875666DE95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40FAD4DF-FBB5-3345-0AE1-C533C220D97E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31DBF3F7-B93B-6244-CC6B-B20CAE977096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34356F30-8DDE-3880-F62E-41C8F014FBF5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063EFB20-7871-AF9E-C2BA-58FBAAAD1AE4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18F5E0F7-B422-D123-6FD7-AE031DBCF9D8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962DCAA5-C1E1-2B26-8737-956F28995AD8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4826FE7E-47E6-62C2-8017-B84DB52D5F38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A43D9C1C-3ECE-A1BF-DE5B-C012876182F2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5F6AA8AE-C8D4-D52F-AD56-1D7D243A3663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74337FDC-B53A-97E6-255C-EC42D9CB87B1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7273569-A9FC-252F-96E7-22E249F141CC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1C240073-277C-034F-4B40-C1A4AE29CE93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75453D30-CC63-BC2E-2539-C30D29B4961E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D76604D8-B2E7-8544-646C-0865B78B315B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929E8B2A-E7FA-D019-1A93-E9058B8C18FD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CEA3DDE-12E8-32E9-0D79-CF6060B0E7A8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07DA5BAC-5CEE-818E-3536-6527DE1FBDE1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BA9A49AE-29D7-5A30-864E-6A6B2772316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053D185F-2BC5-05C7-C536-9CB40D5F8C2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9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FFC6B4B-2B89-ECAD-C83F-BA5F22CE153F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얼음이 죽으면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6457676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755D7-8A5F-859E-A65C-27DE325EE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A49F358F-2344-F440-141F-1CF99722041A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61813550-CCB5-1F2F-CA3C-BE4AF7155C3B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10C9A41F-4313-7851-0A58-4A3E2C5AE41B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8FC42287-7206-7D29-5EE3-D41D5EE756D8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FCF4A38B-50E4-D2D0-71DF-6DFB5C87B0CC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35F0BEEC-0803-ED21-845D-CC7DCBDA5ED6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D7A1CA78-14BF-17CF-35EB-38D980DECD3F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F1B686AC-4C32-257A-4468-E871CAFE01FD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494CE47B-C555-EFF9-6565-43D78B4518CF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6F171379-F311-3E49-3B2D-2403DACFE24F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555BB743-9A52-12B4-772D-22716C3A0A14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C92C89A7-B062-C65D-8347-FCC7F926585C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7D30F573-41F2-C6C9-553D-69B47703862C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CF7CA3F6-8E5E-41CB-88BC-8ECCAF9AD58F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1CE33021-6119-46AE-C963-BC5D51A6ED50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3E221D5A-DDF6-192E-EC62-6F1989C9174B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E7997C2F-047C-C189-1791-1A552533850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42E541B6-A473-0AB7-DFE8-7275217BC024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D575BE88-325A-146C-725C-1C96A100BA46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924C5D5-AD56-AABB-A637-431018C76876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FB82EAC1-9E9D-E7FC-24F9-1364E29644A7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EF284B6E-9E74-19DF-DDBA-93D1E21179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EC597A47-7768-264B-7DBD-52A6414DBD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20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9C832B1-869F-5CDD-0B77-2181BF6844A8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모든 사람을 일으키게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하는 숫자는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437269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순서도: 지연 12"/>
          <p:cNvSpPr/>
          <p:nvPr/>
        </p:nvSpPr>
        <p:spPr>
          <a:xfrm rot="5400000">
            <a:off x="-89639" y="-111138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순서도: 지연 14"/>
          <p:cNvSpPr/>
          <p:nvPr/>
        </p:nvSpPr>
        <p:spPr>
          <a:xfrm rot="5400000">
            <a:off x="774457" y="-105381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순서도: 지연 15"/>
          <p:cNvSpPr/>
          <p:nvPr/>
        </p:nvSpPr>
        <p:spPr>
          <a:xfrm rot="5400000">
            <a:off x="1638553" y="-111788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순서도: 지연 16"/>
          <p:cNvSpPr/>
          <p:nvPr/>
        </p:nvSpPr>
        <p:spPr>
          <a:xfrm rot="5400000">
            <a:off x="2502649" y="-109932"/>
            <a:ext cx="650346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순서도: 지연 17"/>
          <p:cNvSpPr/>
          <p:nvPr/>
        </p:nvSpPr>
        <p:spPr>
          <a:xfrm rot="5400000">
            <a:off x="3362853" y="-106887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순서도: 지연 18"/>
          <p:cNvSpPr/>
          <p:nvPr/>
        </p:nvSpPr>
        <p:spPr>
          <a:xfrm rot="5400000">
            <a:off x="4226949" y="-109756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순서도: 지연 19"/>
          <p:cNvSpPr/>
          <p:nvPr/>
        </p:nvSpPr>
        <p:spPr>
          <a:xfrm rot="5400000">
            <a:off x="5091045" y="-107537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순서도: 지연 20"/>
          <p:cNvSpPr/>
          <p:nvPr/>
        </p:nvSpPr>
        <p:spPr>
          <a:xfrm rot="5400000">
            <a:off x="5955141" y="-105681"/>
            <a:ext cx="650346" cy="864096"/>
          </a:xfrm>
          <a:prstGeom prst="flowChartDelay">
            <a:avLst/>
          </a:prstGeom>
          <a:solidFill>
            <a:srgbClr val="FCB4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순서도: 지연 21"/>
          <p:cNvSpPr/>
          <p:nvPr/>
        </p:nvSpPr>
        <p:spPr>
          <a:xfrm rot="5400000">
            <a:off x="6817229" y="-111262"/>
            <a:ext cx="650346" cy="864096"/>
          </a:xfrm>
          <a:prstGeom prst="flowChartDelay">
            <a:avLst/>
          </a:prstGeom>
          <a:solidFill>
            <a:srgbClr val="199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순서도: 지연 22"/>
          <p:cNvSpPr/>
          <p:nvPr/>
        </p:nvSpPr>
        <p:spPr>
          <a:xfrm rot="5400000">
            <a:off x="7681325" y="-105505"/>
            <a:ext cx="650346" cy="864096"/>
          </a:xfrm>
          <a:prstGeom prst="flowChartDelay">
            <a:avLst/>
          </a:prstGeom>
          <a:solidFill>
            <a:srgbClr val="40B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순서도: 지연 23"/>
          <p:cNvSpPr/>
          <p:nvPr/>
        </p:nvSpPr>
        <p:spPr>
          <a:xfrm rot="5400000">
            <a:off x="8545421" y="-111912"/>
            <a:ext cx="650346" cy="864096"/>
          </a:xfrm>
          <a:prstGeom prst="flowChartDelay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4" name="그룹 13"/>
          <p:cNvGrpSpPr/>
          <p:nvPr/>
        </p:nvGrpSpPr>
        <p:grpSpPr>
          <a:xfrm rot="10800000">
            <a:off x="-185138" y="5571987"/>
            <a:ext cx="9499156" cy="1296146"/>
            <a:chOff x="622070" y="3203018"/>
            <a:chExt cx="9499156" cy="1725171"/>
          </a:xfrm>
        </p:grpSpPr>
        <p:sp>
          <p:nvSpPr>
            <p:cNvPr id="39" name="순서도: 지연 38"/>
            <p:cNvSpPr/>
            <p:nvPr/>
          </p:nvSpPr>
          <p:spPr>
            <a:xfrm rot="5400000">
              <a:off x="194474" y="3636497"/>
              <a:ext cx="1719288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0" name="순서도: 지연 39"/>
            <p:cNvSpPr/>
            <p:nvPr/>
          </p:nvSpPr>
          <p:spPr>
            <a:xfrm rot="5400000">
              <a:off x="1342150" y="3355135"/>
              <a:ext cx="1152127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1" name="순서도: 지연 40"/>
            <p:cNvSpPr/>
            <p:nvPr/>
          </p:nvSpPr>
          <p:spPr>
            <a:xfrm rot="5400000">
              <a:off x="2020548" y="3542691"/>
              <a:ext cx="1523526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2" name="순서도: 지연 41"/>
            <p:cNvSpPr/>
            <p:nvPr/>
          </p:nvSpPr>
          <p:spPr>
            <a:xfrm rot="5400000">
              <a:off x="2782118" y="3635744"/>
              <a:ext cx="1720792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3" name="순서도: 지연 42"/>
            <p:cNvSpPr/>
            <p:nvPr/>
          </p:nvSpPr>
          <p:spPr>
            <a:xfrm rot="5400000">
              <a:off x="3930546" y="3357168"/>
              <a:ext cx="1152128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4" name="순서도: 지연 43"/>
            <p:cNvSpPr/>
            <p:nvPr/>
          </p:nvSpPr>
          <p:spPr>
            <a:xfrm rot="5400000">
              <a:off x="4701670" y="3443732"/>
              <a:ext cx="1338072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순서도: 지연 44"/>
            <p:cNvSpPr/>
            <p:nvPr/>
          </p:nvSpPr>
          <p:spPr>
            <a:xfrm rot="5400000">
              <a:off x="5658738" y="3352617"/>
              <a:ext cx="1152128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6" name="순서도: 지연 45"/>
            <p:cNvSpPr/>
            <p:nvPr/>
          </p:nvSpPr>
          <p:spPr>
            <a:xfrm rot="5400000">
              <a:off x="6282228" y="3585632"/>
              <a:ext cx="1629323" cy="864096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7" name="순서도: 지연 46"/>
            <p:cNvSpPr/>
            <p:nvPr/>
          </p:nvSpPr>
          <p:spPr>
            <a:xfrm rot="5400000">
              <a:off x="7292966" y="3444749"/>
              <a:ext cx="1336040" cy="864096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8" name="순서도: 지연 47"/>
            <p:cNvSpPr/>
            <p:nvPr/>
          </p:nvSpPr>
          <p:spPr>
            <a:xfrm rot="5400000">
              <a:off x="8062329" y="3541701"/>
              <a:ext cx="1525507" cy="864096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9" name="순서도: 지연 48"/>
            <p:cNvSpPr/>
            <p:nvPr/>
          </p:nvSpPr>
          <p:spPr>
            <a:xfrm rot="5400000">
              <a:off x="9113114" y="3356868"/>
              <a:ext cx="1152128" cy="86409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9904" y="6217850"/>
            <a:ext cx="414011" cy="508865"/>
            <a:chOff x="1122144" y="4146298"/>
            <a:chExt cx="414011" cy="508865"/>
          </a:xfrm>
        </p:grpSpPr>
        <p:grpSp>
          <p:nvGrpSpPr>
            <p:cNvPr id="35" name="그룹 34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36" name="타원 35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7" name="타원 36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0" name="순서도: 지연 49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1768096" y="6115817"/>
            <a:ext cx="414011" cy="508865"/>
            <a:chOff x="1122144" y="4146298"/>
            <a:chExt cx="414011" cy="508865"/>
          </a:xfrm>
        </p:grpSpPr>
        <p:grpSp>
          <p:nvGrpSpPr>
            <p:cNvPr id="52" name="그룹 5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54" name="타원 5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5" name="타원 5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3" name="순서도: 지연 5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6" name="그룹 55"/>
          <p:cNvGrpSpPr/>
          <p:nvPr/>
        </p:nvGrpSpPr>
        <p:grpSpPr>
          <a:xfrm>
            <a:off x="3499926" y="6190753"/>
            <a:ext cx="414011" cy="508865"/>
            <a:chOff x="1122144" y="4146298"/>
            <a:chExt cx="414011" cy="508865"/>
          </a:xfrm>
        </p:grpSpPr>
        <p:grpSp>
          <p:nvGrpSpPr>
            <p:cNvPr id="57" name="그룹 5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59" name="타원 5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0" name="타원 5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8" name="순서도: 지연 5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61" name="그룹 60"/>
          <p:cNvGrpSpPr/>
          <p:nvPr/>
        </p:nvGrpSpPr>
        <p:grpSpPr>
          <a:xfrm>
            <a:off x="5231756" y="6265689"/>
            <a:ext cx="414011" cy="508865"/>
            <a:chOff x="1122144" y="4146298"/>
            <a:chExt cx="414011" cy="508865"/>
          </a:xfrm>
        </p:grpSpPr>
        <p:grpSp>
          <p:nvGrpSpPr>
            <p:cNvPr id="62" name="그룹 6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64" name="타원 6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5" name="타원 6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63" name="순서도: 지연 6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963586" y="5995134"/>
            <a:ext cx="414011" cy="508865"/>
            <a:chOff x="1122144" y="4146298"/>
            <a:chExt cx="414011" cy="508865"/>
          </a:xfrm>
        </p:grpSpPr>
        <p:grpSp>
          <p:nvGrpSpPr>
            <p:cNvPr id="67" name="그룹 6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69" name="타원 6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0" name="타원 6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68" name="순서도: 지연 6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1" name="그룹 70"/>
          <p:cNvGrpSpPr/>
          <p:nvPr/>
        </p:nvGrpSpPr>
        <p:grpSpPr>
          <a:xfrm>
            <a:off x="8695416" y="5724579"/>
            <a:ext cx="414011" cy="508865"/>
            <a:chOff x="1122144" y="4146298"/>
            <a:chExt cx="414011" cy="508865"/>
          </a:xfrm>
        </p:grpSpPr>
        <p:grpSp>
          <p:nvGrpSpPr>
            <p:cNvPr id="72" name="그룹 7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74" name="타원 7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5" name="타원 7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3" name="순서도: 지연 7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6" name="그룹 75"/>
          <p:cNvGrpSpPr/>
          <p:nvPr/>
        </p:nvGrpSpPr>
        <p:grpSpPr>
          <a:xfrm>
            <a:off x="7821378" y="6190753"/>
            <a:ext cx="414011" cy="508865"/>
            <a:chOff x="1122144" y="4146298"/>
            <a:chExt cx="414011" cy="508865"/>
          </a:xfrm>
        </p:grpSpPr>
        <p:grpSp>
          <p:nvGrpSpPr>
            <p:cNvPr id="77" name="그룹 7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79" name="타원 7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0" name="타원 7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8" name="순서도: 지연 7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1" name="그룹 80"/>
          <p:cNvGrpSpPr/>
          <p:nvPr/>
        </p:nvGrpSpPr>
        <p:grpSpPr>
          <a:xfrm>
            <a:off x="6073308" y="5879910"/>
            <a:ext cx="414011" cy="508865"/>
            <a:chOff x="1122144" y="4146298"/>
            <a:chExt cx="414011" cy="508865"/>
          </a:xfrm>
        </p:grpSpPr>
        <p:grpSp>
          <p:nvGrpSpPr>
            <p:cNvPr id="82" name="그룹 8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84" name="타원 8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5" name="타원 8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83" name="순서도: 지연 8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6" name="그룹 85"/>
          <p:cNvGrpSpPr/>
          <p:nvPr/>
        </p:nvGrpSpPr>
        <p:grpSpPr>
          <a:xfrm>
            <a:off x="4345116" y="6134342"/>
            <a:ext cx="414011" cy="508865"/>
            <a:chOff x="1122144" y="4146298"/>
            <a:chExt cx="414011" cy="508865"/>
          </a:xfrm>
        </p:grpSpPr>
        <p:grpSp>
          <p:nvGrpSpPr>
            <p:cNvPr id="87" name="그룹 8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89" name="타원 8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0" name="타원 8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88" name="순서도: 지연 8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1" name="그룹 90"/>
          <p:cNvGrpSpPr/>
          <p:nvPr/>
        </p:nvGrpSpPr>
        <p:grpSpPr>
          <a:xfrm>
            <a:off x="2632192" y="5922268"/>
            <a:ext cx="414011" cy="508865"/>
            <a:chOff x="1122144" y="4146298"/>
            <a:chExt cx="414011" cy="508865"/>
          </a:xfrm>
        </p:grpSpPr>
        <p:grpSp>
          <p:nvGrpSpPr>
            <p:cNvPr id="92" name="그룹 91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94" name="타원 93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5" name="타원 94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3" name="순서도: 지연 92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6" name="그룹 95"/>
          <p:cNvGrpSpPr/>
          <p:nvPr/>
        </p:nvGrpSpPr>
        <p:grpSpPr>
          <a:xfrm>
            <a:off x="904000" y="5935286"/>
            <a:ext cx="414011" cy="508865"/>
            <a:chOff x="1122144" y="4146298"/>
            <a:chExt cx="414011" cy="508865"/>
          </a:xfrm>
        </p:grpSpPr>
        <p:grpSp>
          <p:nvGrpSpPr>
            <p:cNvPr id="97" name="그룹 96"/>
            <p:cNvGrpSpPr/>
            <p:nvPr/>
          </p:nvGrpSpPr>
          <p:grpSpPr>
            <a:xfrm>
              <a:off x="1122144" y="4146298"/>
              <a:ext cx="414011" cy="147805"/>
              <a:chOff x="2380123" y="2852936"/>
              <a:chExt cx="414011" cy="147805"/>
            </a:xfrm>
          </p:grpSpPr>
          <p:sp>
            <p:nvSpPr>
              <p:cNvPr id="99" name="타원 98"/>
              <p:cNvSpPr/>
              <p:nvPr/>
            </p:nvSpPr>
            <p:spPr>
              <a:xfrm>
                <a:off x="238012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0" name="타원 99"/>
              <p:cNvSpPr/>
              <p:nvPr/>
            </p:nvSpPr>
            <p:spPr>
              <a:xfrm>
                <a:off x="2643963" y="2852936"/>
                <a:ext cx="150171" cy="147805"/>
              </a:xfrm>
              <a:prstGeom prst="ellips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8" name="순서도: 지연 97"/>
            <p:cNvSpPr/>
            <p:nvPr/>
          </p:nvSpPr>
          <p:spPr>
            <a:xfrm rot="5400000">
              <a:off x="1223763" y="4379548"/>
              <a:ext cx="218050" cy="333179"/>
            </a:xfrm>
            <a:prstGeom prst="flowChartDelay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878221" y="1988840"/>
            <a:ext cx="720699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800" dirty="0">
                <a:solidFill>
                  <a:srgbClr val="199EC7"/>
                </a:solidFill>
                <a:latin typeface="CookieRun Bold" panose="020B0600000101010101" pitchFamily="50" charset="-127"/>
                <a:ea typeface="CookieRun Bold" panose="020B0600000101010101" pitchFamily="50" charset="-127"/>
              </a:rPr>
              <a:t>끝</a:t>
            </a:r>
            <a:r>
              <a:rPr lang="en-US" altLang="ko-KR" sz="13800" dirty="0">
                <a:solidFill>
                  <a:srgbClr val="199EC7"/>
                </a:solidFill>
                <a:latin typeface="CookieRun Bold" panose="020B0600000101010101" pitchFamily="50" charset="-127"/>
                <a:ea typeface="CookieRun Bold" panose="020B0600000101010101" pitchFamily="50" charset="-127"/>
              </a:rPr>
              <a:t>!</a:t>
            </a:r>
            <a:endParaRPr lang="en-US" altLang="ko-KR" sz="287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1177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943020-8C9E-9488-0F20-3CF8726566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D4BFA32C-B9AC-1C42-D1D1-82BC021B3362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1E316A41-D9AA-A83D-3D98-D1CF07A4B747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71094879-BF09-7678-BD21-62DBDC4779DC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AE6934CC-5B9A-829E-D8DE-3650192CDAEC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2067112D-4EF5-0DD9-4E7C-2AC91D0AD98B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DC1ED993-8182-D891-AEDA-3CDE9CC52C39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05DC4B8C-252C-18F0-8431-48EDE8842A7F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97BA5AC2-D72F-1712-A81C-29390CA240FD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B059AD93-D964-743E-10AF-A29B7288F8E7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13EEB220-4711-4B2D-C649-950E4E208F69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4ACA8606-E6F9-BBE1-4556-F0003797CE3C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2FFE52DE-C927-386B-C46D-379AF0480C6D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90127A32-C483-C99B-EC11-B1744E756ADD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9AC85C23-EDA8-9622-B426-08E0F9F5340A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46867883-8928-2679-8931-71BFEE5C575C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CD4D15A4-B7F8-B8C4-0341-1D0F2CF76695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9E23029F-9E6D-3F05-5527-13D45DBBBDF0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2D57A227-8280-EEF8-7101-F9A06CAAC39F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6446BC4D-72B0-C20E-382D-B4E4D107EDA3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6274DABC-EE7F-33A6-E6E8-A1757BE724D5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95A40973-04C8-B684-2EEB-481DCB1BE725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F64CAF21-2F01-E2E6-2DC6-C278E30E1BF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A1DA8E95-91A4-D6E6-5D55-93F30F18C6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2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C1306C9-593E-4BCA-0DB9-3CE2AE61198A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모음은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A, E, I, O, U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이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16260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B63A87-E0F7-EB49-A0F8-1171682D8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3DC0BFC9-D39F-4400-C647-9B6124C90623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0A415236-A00D-6BB9-619E-A08DD03A4184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44F42C1D-F9DE-D8F5-20B8-3F91C3553C8B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CB837A57-6ABC-3504-ABF9-80BB3B8B33A3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B4E60577-C890-E153-5783-82B00CE1D6D7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7B7B587C-DA40-E1D9-90EE-25BCACE4ED46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57EEA263-25BA-01E4-3CD2-95AAFF22460D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42D9CDA9-D37D-3825-1A87-8D9E183D5C22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5D5FBCFD-80A9-976F-2FA5-AC2B1B364727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D28197AB-33BF-F56D-A7F7-A273550FBFC2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CBD71AFD-4A28-DC73-8E06-35B06B890DB6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73B21DD4-DE37-51D2-9D11-033F01050CFD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BE770F09-94DC-F368-E4B8-F8769C19B50E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9E5D63B9-8853-645B-BBD3-769AE604CFBA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B83186E0-8910-09A7-A6B5-DA0026387319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52EB8E88-E794-A9DD-B291-38E150DA0E67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4CD6D9D7-30D3-B3BA-005C-5BC8FB89A263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B026DFC0-C2EA-7A6E-D130-3EEB0FA7D3F8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7312D0E4-8233-D9AC-4339-ABCB6BBABC3A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37DD6BA2-0BB3-0D25-3947-05A6BEE28B9F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81776E8E-8CC4-7D81-968B-9E285F0FC558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92AB20DB-E1A5-B1E6-275D-353FCBDE02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336724B8-76E3-6D84-78A3-15DFC62935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3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0DFC6C-A946-C388-5FA0-BCFE0DB0BB2B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’oi’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와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‘oy’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는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같은 소리가 난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2658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E7FA5-EB1E-CD9D-51A8-006ADC99E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A7A8E8C9-6BD5-1B31-991C-E73A2471EF2D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40A867EF-CC81-F1F6-4F3D-2CE823CB4D33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42DB3C07-44AE-5556-3EAD-41091C260CC9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CA893F77-5E5D-C1A3-92D8-81086217BA13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1E3AC688-0BD2-5463-6690-76A049353F0E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9339DECD-6582-660C-2420-8E4659D84694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818519C0-2867-FE2B-FBDC-F5A0CFDEA812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5637BA51-941D-B32C-675B-69BD8FE3C5E0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D27D8388-ED03-007B-64DB-9538BAE1CF47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E765F942-E37A-C7B4-E5D9-FFFA9A1C1D8E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01057E3D-CC8C-7576-3371-D797265E0DDF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9B38F945-5778-E6F4-FE6C-E4606ED9957E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62CA46F3-2DE4-3421-1695-42BD4C776E9E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737BCCDB-3958-03EA-E2DC-A79051571BBF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A7B0E307-3A87-88CD-7B88-117B32850478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8FFE4C02-0F66-B930-5C77-C172F61EA9BD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6FC7FB9D-6D53-345D-B9DE-869AAB02991A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082F18E2-0530-8572-059A-DFEF42C52E11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46EF1729-8585-A196-92B6-F72549A6E31F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1435385D-F38F-D991-8995-82B772D7BEB7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621C51F5-51A9-CE3A-351F-ACC21167236B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69524143-FE9A-3A98-8ECE-F71205E6A9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AF4E6693-0E31-E44F-13CC-165A41CF3A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4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8216D1-7A31-03C6-9AE4-60E9869CE3C4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’ow’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는 한 가지 소리만 있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47157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42D6C-CD57-1C1C-1F72-5C5FD3123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800B96B3-F86D-B43D-EA76-152FDFAD4A1B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A8182A34-B6F6-F27D-795A-76471AE4B37C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E911C0B0-0099-0E9C-88E1-8FE3FFE8C706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0A300B29-533A-0549-4040-1AE9EA7DDF22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AA78D08C-9710-3142-8892-D2EBE5AF2D3A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47D03C38-7AA6-AE98-0200-94BE2714501A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70D9DAA1-381B-45C2-C9ED-3079613477F7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790C8326-FFCF-C8F2-E03C-F9BDF1677FE9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8CEF9E87-420C-3159-16B3-F72A9EE1FD4B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3021CF57-BB8E-9F42-ACF5-7C8EEA89C774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5BBAB19E-C697-39C7-CE29-88C34109357F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29D3DF50-6A41-20B6-D0E8-6DB5A2A8C965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79A2D961-ACA2-D9EA-A47B-9152CBEE9DD0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7DA21F38-8C4C-F303-F598-DD4F32C7364C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ABB7E7E0-9983-3600-3F80-F3E5F723C105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FC1E2E39-4A35-E8C3-A811-A615A5019860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73779A5C-7508-5567-B66A-B9D80E57E1B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5802E787-CB22-E47C-7798-B917710C974D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EF60DC21-FF5B-EF6A-16BA-691B6844416D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5008EFB3-9B6F-F03D-4F58-26627EA87C30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9D9496A3-4629-5351-AFA3-689F9A51D44A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AAEBBC66-AF4C-D75F-AC4D-73C871A7CA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01C17AF9-70F2-FE29-F3F8-CDBD7D90684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5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DC144C-DBEF-113E-1EBC-A86910932FD6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KAIST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반은 지금까지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총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8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권의 책을 끝냈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963364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53B07-7B4E-02A0-55BA-48DC472B5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4F9EAB1A-042F-50A1-9CB5-28581C5EBEE7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1ECF6231-3D82-9292-2A10-673F5C2BE3AC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59490A24-4CDB-40EE-1BAF-710F4F0C4C5A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6B01DE39-8534-2529-521C-F4D7A7A5AB6B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F54221F5-2C39-D1A6-527F-F918D4E65168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14AD1122-4A79-5014-3BC9-DC3B0843C359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16D25D4A-3AC4-8B89-5D65-1B62A2240B27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C8A28CF5-3216-F1A5-86C1-F0E18C280CD0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31AB0533-6D76-C9C3-94B8-70EDC0DA08C6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13FE4D33-B25D-34AC-D31B-1058D967EECC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29E88F4A-5D14-8502-C67A-C61913A48130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3F48F02E-A748-80F2-3053-3990E66C5890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CB602278-1DF9-1D09-FB97-1DFD153B0FAD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7BF57C91-0165-C4CC-BB8D-0005E915A84E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9DFB218-F0A1-DFD8-277C-B751436C417B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BCBA8B5C-7282-B5B8-A57B-485A412FBEF2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EFD8EE17-2ACC-35B0-4935-A441358568D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3C12125B-11A9-63B2-06A5-4CCDEE6414D5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898F8698-2C30-C326-B1CF-F9ACA58BA3B3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1B6F5299-471B-F70F-6EF7-74892FB52AF9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C5939AD3-2670-145E-E3DE-068266A0C7DD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9CCD0174-A63D-348A-6363-0B0D993C4F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A7D3FCAA-A223-7F70-119B-D7C6D02160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6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E4E683-4454-AE52-730B-D026C09E9720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선생님 이름은</a:t>
            </a:r>
            <a:endParaRPr lang="en-US" altLang="ko-KR" sz="5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"Jon" 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선생님이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52787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3A1E-9B54-2E81-191F-86914A315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F4B62AFF-4255-D078-8AAE-13D0F377C35B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FA4BC677-A6D3-94C9-B903-8C6F69F5935D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5C34BAE5-EEB9-D225-F588-849AE09D8BC9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3E154A10-7EF0-EBB4-CBBB-8F3073E8ABE0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0582D244-D4B8-0705-12D6-23EE94937D0F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CBBAB7CC-4E2E-E452-F2AE-9520782892AD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BBC79A8D-C1CE-71E5-F462-04657617B37B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799DD7F9-5109-052F-8A22-A329DE776767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CED653D3-DC62-0DF7-29FF-4D4D1FC0ADF8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CCB36C72-019D-D625-D15B-50BA23A8706A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F790DB77-39BB-BFAD-E5B9-DBBD2F167A66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187E3A95-A337-37FF-E34C-4495A2D015AF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66AEC3C4-EA1B-4554-9BCF-C9F4BD5E3CA8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6B3DD603-4015-5930-FCE0-2AACB3B9A977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827C520B-1F89-524D-90EE-40740EDCDA00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FA07BE67-3600-1D91-82D9-D58BC4AD0FDA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35AC8F2D-0905-A3A7-A9A1-1A992344F27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4DC56A6D-CA04-05AA-C41B-A5BB2908621C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CBB9EE04-F770-40BC-026A-78990CA537B4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4C1BFE09-558A-E254-E119-006448EBB835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11C45B68-476B-855F-7010-A0E821DF0C47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C8775526-DA90-7699-99B1-1D0D16E710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8EF10FBE-4103-C06B-0164-32355B27C8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7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3317804-A8FA-B26C-3709-44517545A1C3}"/>
              </a:ext>
            </a:extLst>
          </p:cNvPr>
          <p:cNvSpPr txBox="1"/>
          <p:nvPr/>
        </p:nvSpPr>
        <p:spPr>
          <a:xfrm>
            <a:off x="198045" y="1707773"/>
            <a:ext cx="87479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5400" dirty="0" err="1">
                <a:latin typeface="CookieRun Bold" panose="020B0600000101010101" pitchFamily="50" charset="-127"/>
                <a:ea typeface="CookieRun Bold" panose="020B0600000101010101" pitchFamily="50" charset="-127"/>
              </a:rPr>
              <a:t>스탬프북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1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권 도장을 모두 모으면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5,000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원 장학금만 나간다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.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28124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A8D46-2B81-4F79-76E2-2A12D809F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A0063127-4AB4-3A87-3167-95A6E6DEFDD4}"/>
              </a:ext>
            </a:extLst>
          </p:cNvPr>
          <p:cNvGrpSpPr/>
          <p:nvPr/>
        </p:nvGrpSpPr>
        <p:grpSpPr>
          <a:xfrm>
            <a:off x="-44857" y="-5179"/>
            <a:ext cx="9244827" cy="451321"/>
            <a:chOff x="-44857" y="-5179"/>
            <a:chExt cx="9244827" cy="451321"/>
          </a:xfrm>
        </p:grpSpPr>
        <p:sp>
          <p:nvSpPr>
            <p:cNvPr id="13" name="순서도: 지연 12">
              <a:extLst>
                <a:ext uri="{FF2B5EF4-FFF2-40B4-BE49-F238E27FC236}">
                  <a16:creationId xmlns:a16="http://schemas.microsoft.com/office/drawing/2014/main" id="{45951D4D-B6A2-B750-61E7-A5BDF4BD4C76}"/>
                </a:ext>
              </a:extLst>
            </p:cNvPr>
            <p:cNvSpPr/>
            <p:nvPr/>
          </p:nvSpPr>
          <p:spPr>
            <a:xfrm rot="5400000">
              <a:off x="90110" y="-137271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순서도: 지연 14">
              <a:extLst>
                <a:ext uri="{FF2B5EF4-FFF2-40B4-BE49-F238E27FC236}">
                  <a16:creationId xmlns:a16="http://schemas.microsoft.com/office/drawing/2014/main" id="{4ADFC5B2-9A08-222E-D9EF-864FD78423ED}"/>
                </a:ext>
              </a:extLst>
            </p:cNvPr>
            <p:cNvSpPr/>
            <p:nvPr/>
          </p:nvSpPr>
          <p:spPr>
            <a:xfrm rot="5400000">
              <a:off x="803521" y="-140140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순서도: 지연 15">
              <a:extLst>
                <a:ext uri="{FF2B5EF4-FFF2-40B4-BE49-F238E27FC236}">
                  <a16:creationId xmlns:a16="http://schemas.microsoft.com/office/drawing/2014/main" id="{EBD23901-4C9B-D9ED-F04F-B404127DCF60}"/>
                </a:ext>
              </a:extLst>
            </p:cNvPr>
            <p:cNvSpPr/>
            <p:nvPr/>
          </p:nvSpPr>
          <p:spPr>
            <a:xfrm rot="5400000">
              <a:off x="1511750" y="-137921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순서도: 지연 16">
              <a:extLst>
                <a:ext uri="{FF2B5EF4-FFF2-40B4-BE49-F238E27FC236}">
                  <a16:creationId xmlns:a16="http://schemas.microsoft.com/office/drawing/2014/main" id="{09B4591D-47E9-7DE1-DB40-ECCA296CB3C6}"/>
                </a:ext>
              </a:extLst>
            </p:cNvPr>
            <p:cNvSpPr/>
            <p:nvPr/>
          </p:nvSpPr>
          <p:spPr>
            <a:xfrm rot="5400000">
              <a:off x="2224667" y="-136065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순서도: 지연 17">
              <a:extLst>
                <a:ext uri="{FF2B5EF4-FFF2-40B4-BE49-F238E27FC236}">
                  <a16:creationId xmlns:a16="http://schemas.microsoft.com/office/drawing/2014/main" id="{CAF9E166-BF71-0A81-9C74-47B93FE50B31}"/>
                </a:ext>
              </a:extLst>
            </p:cNvPr>
            <p:cNvSpPr/>
            <p:nvPr/>
          </p:nvSpPr>
          <p:spPr>
            <a:xfrm rot="5400000">
              <a:off x="2930890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순서도: 지연 18">
              <a:extLst>
                <a:ext uri="{FF2B5EF4-FFF2-40B4-BE49-F238E27FC236}">
                  <a16:creationId xmlns:a16="http://schemas.microsoft.com/office/drawing/2014/main" id="{5A052125-6616-C42E-9FB4-3ED20614C8CD}"/>
                </a:ext>
              </a:extLst>
            </p:cNvPr>
            <p:cNvSpPr/>
            <p:nvPr/>
          </p:nvSpPr>
          <p:spPr>
            <a:xfrm rot="5400000">
              <a:off x="3641355" y="-140141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순서도: 지연 19">
              <a:extLst>
                <a:ext uri="{FF2B5EF4-FFF2-40B4-BE49-F238E27FC236}">
                  <a16:creationId xmlns:a16="http://schemas.microsoft.com/office/drawing/2014/main" id="{A9AC7532-AAB9-6380-BA9A-9F9E329D8B2A}"/>
                </a:ext>
              </a:extLst>
            </p:cNvPr>
            <p:cNvSpPr/>
            <p:nvPr/>
          </p:nvSpPr>
          <p:spPr>
            <a:xfrm rot="5400000">
              <a:off x="4344974" y="-140142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순서도: 지연 20">
              <a:extLst>
                <a:ext uri="{FF2B5EF4-FFF2-40B4-BE49-F238E27FC236}">
                  <a16:creationId xmlns:a16="http://schemas.microsoft.com/office/drawing/2014/main" id="{33A5E65F-AB1F-434F-E15D-2D7631ED62B3}"/>
                </a:ext>
              </a:extLst>
            </p:cNvPr>
            <p:cNvSpPr/>
            <p:nvPr/>
          </p:nvSpPr>
          <p:spPr>
            <a:xfrm rot="5400000">
              <a:off x="5057781" y="-140143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순서도: 지연 21">
              <a:extLst>
                <a:ext uri="{FF2B5EF4-FFF2-40B4-BE49-F238E27FC236}">
                  <a16:creationId xmlns:a16="http://schemas.microsoft.com/office/drawing/2014/main" id="{D44CDEA8-2C94-5720-57B1-203844196D89}"/>
                </a:ext>
              </a:extLst>
            </p:cNvPr>
            <p:cNvSpPr/>
            <p:nvPr/>
          </p:nvSpPr>
          <p:spPr>
            <a:xfrm rot="5400000">
              <a:off x="5771910" y="-140144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순서도: 지연 22">
              <a:extLst>
                <a:ext uri="{FF2B5EF4-FFF2-40B4-BE49-F238E27FC236}">
                  <a16:creationId xmlns:a16="http://schemas.microsoft.com/office/drawing/2014/main" id="{81A32D27-5D45-4CFA-DCE7-2594B7A5D574}"/>
                </a:ext>
              </a:extLst>
            </p:cNvPr>
            <p:cNvSpPr/>
            <p:nvPr/>
          </p:nvSpPr>
          <p:spPr>
            <a:xfrm rot="5400000">
              <a:off x="6478421" y="-140145"/>
              <a:ext cx="444195" cy="714129"/>
            </a:xfrm>
            <a:prstGeom prst="flowChartDelay">
              <a:avLst/>
            </a:prstGeom>
            <a:solidFill>
              <a:srgbClr val="40BC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순서도: 지연 23">
              <a:extLst>
                <a:ext uri="{FF2B5EF4-FFF2-40B4-BE49-F238E27FC236}">
                  <a16:creationId xmlns:a16="http://schemas.microsoft.com/office/drawing/2014/main" id="{15A8970B-6C87-3325-B0D9-AD66DFD1D342}"/>
                </a:ext>
              </a:extLst>
            </p:cNvPr>
            <p:cNvSpPr/>
            <p:nvPr/>
          </p:nvSpPr>
          <p:spPr>
            <a:xfrm rot="5400000">
              <a:off x="7192550" y="-139800"/>
              <a:ext cx="444195" cy="714129"/>
            </a:xfrm>
            <a:prstGeom prst="flowChartDelay">
              <a:avLst/>
            </a:prstGeom>
            <a:solidFill>
              <a:srgbClr val="EC55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순서도: 지연 24">
              <a:extLst>
                <a:ext uri="{FF2B5EF4-FFF2-40B4-BE49-F238E27FC236}">
                  <a16:creationId xmlns:a16="http://schemas.microsoft.com/office/drawing/2014/main" id="{EE162795-3347-F537-EA82-86400E7151BC}"/>
                </a:ext>
              </a:extLst>
            </p:cNvPr>
            <p:cNvSpPr/>
            <p:nvPr/>
          </p:nvSpPr>
          <p:spPr>
            <a:xfrm rot="5400000">
              <a:off x="7906679" y="-140146"/>
              <a:ext cx="444195" cy="714129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순서도: 지연 26">
              <a:extLst>
                <a:ext uri="{FF2B5EF4-FFF2-40B4-BE49-F238E27FC236}">
                  <a16:creationId xmlns:a16="http://schemas.microsoft.com/office/drawing/2014/main" id="{ECBD8D69-1EE4-4EFF-10ED-0B3DCDA6DB30}"/>
                </a:ext>
              </a:extLst>
            </p:cNvPr>
            <p:cNvSpPr/>
            <p:nvPr/>
          </p:nvSpPr>
          <p:spPr>
            <a:xfrm rot="5400000">
              <a:off x="8620808" y="-133020"/>
              <a:ext cx="444195" cy="714129"/>
            </a:xfrm>
            <a:prstGeom prst="flowChartDelay">
              <a:avLst/>
            </a:prstGeom>
            <a:solidFill>
              <a:srgbClr val="199E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56028204-CD49-C0AB-B361-4AA54502D259}"/>
              </a:ext>
            </a:extLst>
          </p:cNvPr>
          <p:cNvGrpSpPr/>
          <p:nvPr/>
        </p:nvGrpSpPr>
        <p:grpSpPr>
          <a:xfrm>
            <a:off x="7120652" y="5026118"/>
            <a:ext cx="2292756" cy="2296775"/>
            <a:chOff x="7470214" y="4960687"/>
            <a:chExt cx="2292756" cy="2296775"/>
          </a:xfrm>
        </p:grpSpPr>
        <p:sp>
          <p:nvSpPr>
            <p:cNvPr id="14" name="순서도: 지연 13">
              <a:extLst>
                <a:ext uri="{FF2B5EF4-FFF2-40B4-BE49-F238E27FC236}">
                  <a16:creationId xmlns:a16="http://schemas.microsoft.com/office/drawing/2014/main" id="{48D2FB73-BDC2-68E6-748E-D4B8E108D96F}"/>
                </a:ext>
              </a:extLst>
            </p:cNvPr>
            <p:cNvSpPr/>
            <p:nvPr/>
          </p:nvSpPr>
          <p:spPr>
            <a:xfrm rot="16200000">
              <a:off x="7468204" y="4962697"/>
              <a:ext cx="2296775" cy="2292756"/>
            </a:xfrm>
            <a:prstGeom prst="flowChartDelay">
              <a:avLst/>
            </a:prstGeom>
            <a:solidFill>
              <a:srgbClr val="FCB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7B8176A2-0504-DC36-1239-7B781435E30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8249868" y="5189246"/>
              <a:ext cx="733445" cy="772378"/>
              <a:chOff x="2380123" y="2852936"/>
              <a:chExt cx="414011" cy="435987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5617A92C-EF1F-83E8-0382-4B8425A42233}"/>
                  </a:ext>
                </a:extLst>
              </p:cNvPr>
              <p:cNvGrpSpPr/>
              <p:nvPr/>
            </p:nvGrpSpPr>
            <p:grpSpPr>
              <a:xfrm>
                <a:off x="2380123" y="2852936"/>
                <a:ext cx="414011" cy="147805"/>
                <a:chOff x="2380123" y="2852936"/>
                <a:chExt cx="414011" cy="147805"/>
              </a:xfrm>
            </p:grpSpPr>
            <p:sp>
              <p:nvSpPr>
                <p:cNvPr id="39" name="타원 38">
                  <a:extLst>
                    <a:ext uri="{FF2B5EF4-FFF2-40B4-BE49-F238E27FC236}">
                      <a16:creationId xmlns:a16="http://schemas.microsoft.com/office/drawing/2014/main" id="{9CD2EBBF-0D7C-33E4-B155-5801F595CC8D}"/>
                    </a:ext>
                  </a:extLst>
                </p:cNvPr>
                <p:cNvSpPr/>
                <p:nvPr/>
              </p:nvSpPr>
              <p:spPr>
                <a:xfrm>
                  <a:off x="238012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타원 39">
                  <a:extLst>
                    <a:ext uri="{FF2B5EF4-FFF2-40B4-BE49-F238E27FC236}">
                      <a16:creationId xmlns:a16="http://schemas.microsoft.com/office/drawing/2014/main" id="{787E5E5C-8C12-EA4D-2180-7A5E546B4D75}"/>
                    </a:ext>
                  </a:extLst>
                </p:cNvPr>
                <p:cNvSpPr/>
                <p:nvPr/>
              </p:nvSpPr>
              <p:spPr>
                <a:xfrm>
                  <a:off x="2643963" y="2852936"/>
                  <a:ext cx="150171" cy="147805"/>
                </a:xfrm>
                <a:prstGeom prst="ellips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8" name="순서도: 지연 37">
                <a:extLst>
                  <a:ext uri="{FF2B5EF4-FFF2-40B4-BE49-F238E27FC236}">
                    <a16:creationId xmlns:a16="http://schemas.microsoft.com/office/drawing/2014/main" id="{3DBFEA94-E80E-78F0-B5AE-8F292AC0575A}"/>
                  </a:ext>
                </a:extLst>
              </p:cNvPr>
              <p:cNvSpPr/>
              <p:nvPr/>
            </p:nvSpPr>
            <p:spPr>
              <a:xfrm rot="5400000">
                <a:off x="2481742" y="3013308"/>
                <a:ext cx="218050" cy="333179"/>
              </a:xfrm>
              <a:prstGeom prst="flowChartDelay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41" name="모서리가 둥근 사각형 설명선 2">
            <a:extLst>
              <a:ext uri="{FF2B5EF4-FFF2-40B4-BE49-F238E27FC236}">
                <a16:creationId xmlns:a16="http://schemas.microsoft.com/office/drawing/2014/main" id="{3BE57F0B-8B08-5782-D025-F5DC3186BF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045" y="1052736"/>
            <a:ext cx="8747910" cy="3974032"/>
          </a:xfrm>
          <a:prstGeom prst="wedgeRoundRectCallout">
            <a:avLst>
              <a:gd name="adj1" fmla="val 28472"/>
              <a:gd name="adj2" fmla="val 59308"/>
              <a:gd name="adj3" fmla="val 16667"/>
            </a:avLst>
          </a:prstGeom>
          <a:noFill/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34">
            <a:extLst>
              <a:ext uri="{FF2B5EF4-FFF2-40B4-BE49-F238E27FC236}">
                <a16:creationId xmlns:a16="http://schemas.microsoft.com/office/drawing/2014/main" id="{AF8ED4CD-EE36-26BF-05E1-C635D87F46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6298" y="973009"/>
            <a:ext cx="872609" cy="682727"/>
          </a:xfrm>
          <a:prstGeom prst="roundRect">
            <a:avLst/>
          </a:prstGeom>
          <a:solidFill>
            <a:srgbClr val="EC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08</a:t>
            </a:r>
            <a:endParaRPr lang="ko-KR" altLang="en-US" sz="340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EDCE34D-ADD8-FE26-7E0E-4E8E7AF04F07}"/>
              </a:ext>
            </a:extLst>
          </p:cNvPr>
          <p:cNvSpPr txBox="1"/>
          <p:nvPr/>
        </p:nvSpPr>
        <p:spPr>
          <a:xfrm>
            <a:off x="198045" y="1707773"/>
            <a:ext cx="87479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"Ch"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가 들어간 단어 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2</a:t>
            </a:r>
            <a:r>
              <a:rPr lang="ko-KR" altLang="en-US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개 쓰기</a:t>
            </a:r>
            <a:r>
              <a:rPr lang="en-US" altLang="ko-KR" sz="5400" dirty="0">
                <a:latin typeface="CookieRun Bold" panose="020B0600000101010101" pitchFamily="50" charset="-127"/>
                <a:ea typeface="CookieRun Bold" panose="020B0600000101010101" pitchFamily="50" charset="-127"/>
              </a:rPr>
              <a:t>!</a:t>
            </a:r>
            <a:endParaRPr kumimoji="0" lang="en-US" altLang="ko-KR" sz="5400" b="0" i="0" u="none" strike="noStrike" kern="1200" cap="none" spc="0" normalizeH="0" baseline="0" dirty="0">
              <a:latin typeface="CookieRun Bold" panose="020B0600000101010101" pitchFamily="50" charset="-127"/>
              <a:ea typeface="CookieRun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8587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tb60jamECetEXPQUUJ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9AcfsWJ0m1cybbG897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8m1WltdEGryIpHr1XE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hKJZ.LkivFPPlT4p_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bUGH4ys0SSl6EagLwh8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GSJldyokyuSoDsRnlj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kaKtOioEqiSXDWVLLR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4ZHzLdkuccPnkvS1Ry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1">
      <a:majorFont>
        <a:latin typeface="CookieRun Bold"/>
        <a:ea typeface="CookieRun Bold"/>
        <a:cs typeface=""/>
      </a:majorFont>
      <a:minorFont>
        <a:latin typeface="CookieRun Bold"/>
        <a:ea typeface="CookieRun Bold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4</TotalTime>
  <Words>185</Words>
  <Application>Microsoft Macintosh PowerPoint</Application>
  <PresentationFormat>화면 슬라이드 쇼(4:3)</PresentationFormat>
  <Paragraphs>58</Paragraphs>
  <Slides>2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28" baseType="lpstr">
      <vt:lpstr>CookieRun Black</vt:lpstr>
      <vt:lpstr>Arial</vt:lpstr>
      <vt:lpstr>CookieRun Bold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안요한</cp:lastModifiedBy>
  <cp:revision>43</cp:revision>
  <dcterms:created xsi:type="dcterms:W3CDTF">2020-02-18T02:10:10Z</dcterms:created>
  <dcterms:modified xsi:type="dcterms:W3CDTF">2024-12-24T09:07:55Z</dcterms:modified>
</cp:coreProperties>
</file>